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_rels/.rels" ContentType="application/vnd.openxmlformats-package.relationship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_rels/item3.xml.rels" ContentType="application/vnd.openxmlformats-package.relationships+xml"/>
  <Override PartName="/customXml/_rels/item2.xml.rels" ContentType="application/vnd.openxmlformats-package.relationships+xml"/>
  <Override PartName="/customXml/_rels/item1.xml.rels" ContentType="application/vnd.openxmlformats-package.relationships+xml"/>
  <Override PartName="/customXml/itemProps2.xml" ContentType="application/vnd.openxmlformats-officedocument.customXmlProperties+xml"/>
  <Override PartName="/customXml/item3.xml" ContentType="application/xml"/>
  <Override PartName="/customXml/itemProps3.xml" ContentType="application/vnd.openxmlformats-officedocument.customXmlProperties+xml"/>
  <Override PartName="/ppt/presentation.xml" ContentType="application/vnd.openxmlformats-officedocument.presentationml.presentation.main+xml"/>
  <Override PartName="/ppt/slideMasters/_rels/slideMaster2.xml.rels" ContentType="application/vnd.openxmlformats-package.relationships+xml"/>
  <Override PartName="/ppt/slideMasters/_rels/slideMaster1.xml.rels" ContentType="application/vnd.openxmlformats-package.relationship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_rels/notesSlide4.xml.rels" ContentType="application/vnd.openxmlformats-package.relationships+xml"/>
  <Override PartName="/ppt/notesSlides/_rels/notesSlide3.xml.rels" ContentType="application/vnd.openxmlformats-package.relationships+xml"/>
  <Override PartName="/ppt/notesSlides/_rels/notesSlide2.xml.rels" ContentType="application/vnd.openxmlformats-package.relationships+xml"/>
  <Override PartName="/ppt/notesSlides/_rels/notesSlide1.xml.rels" ContentType="application/vnd.openxmlformats-package.relationship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_rels/presentation.xml.rels" ContentType="application/vnd.openxmlformats-package.relationships+xml"/>
  <Override PartName="/ppt/embeddings/oleObject1.bin" ContentType="application/vnd.openxmlformats-officedocument.oleObject"/>
  <Override PartName="/ppt/media/image1.wmf" ContentType="image/x-wmf"/>
  <Override PartName="/ppt/media/image2.png" ContentType="image/png"/>
  <Override PartName="/ppt/media/image3.png" ContentType="image/png"/>
  <Override PartName="/ppt/media/image4.wmf" ContentType="image/x-wmf"/>
  <Override PartName="/ppt/media/image5.png" ContentType="image/png"/>
  <Override PartName="/ppt/media/image6.png" ContentType="image/png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_rels/slideLayout22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19.xml.rels" ContentType="application/vnd.openxmlformats-package.relationships+xml"/>
  <Override PartName="/ppt/slideLayouts/_rels/slideLayout21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1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24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23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20.xml.rels" ContentType="application/vnd.openxmlformats-package.relationships+xml"/>
  <Override PartName="/ppt/slideLayouts/slideLayout6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22.xml" ContentType="application/vnd.openxmlformats-officedocument.presentationml.slideLayout+xml"/>
  <Override PartName="/ppt/presProps.xml" ContentType="application/vnd.openxmlformats-officedocument.presentationml.presProps+xml"/>
  <Override PartName="/ppt/notesMasters/_rels/notesMaster1.xml.rels" ContentType="application/vnd.openxmlformats-package.relationships+xml"/>
  <Override PartName="/ppt/notesMasters/notesMaster1.xml" ContentType="application/vnd.openxmlformats-officedocument.presentationml.notesMaster+xml"/>
  <Override PartName="/ppt/slides/slide1.xml" ContentType="application/vnd.openxmlformats-officedocument.presentationml.slide+xml"/>
  <Override PartName="/ppt/slides/_rels/slide4.xml.rels" ContentType="application/vnd.openxmlformats-package.relationships+xml"/>
  <Override PartName="/ppt/slides/_rels/slide1.xml.rels" ContentType="application/vnd.openxmlformats-package.relationships+xml"/>
  <Override PartName="/ppt/slides/_rels/slide3.xml.rels" ContentType="application/vnd.openxmlformats-package.relationships+xml"/>
  <Override PartName="/ppt/slides/_rels/slide2.xml.rels" ContentType="application/vnd.openxmlformats-package.relationships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customXml" Target="../customXml/item1.xml"/><Relationship Id="rId5" Type="http://schemas.openxmlformats.org/officeDocument/2006/relationships/customXml" Target="../customXml/item2.xml"/><Relationship Id="rId6" Type="http://schemas.openxmlformats.org/officeDocument/2006/relationships/customXml" Target="../customXml/item3.xml"/><Relationship Id="rId7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61" r:id="rId3"/>
  </p:sldMasterIdLst>
  <p:notesMasterIdLst>
    <p:notesMasterId r:id="rId4"/>
  </p:notesMasterIdLst>
  <p:sldIdLst>
    <p:sldId id="256" r:id="rId5"/>
    <p:sldId id="257" r:id="rId6"/>
    <p:sldId id="258" r:id="rId7"/>
    <p:sldId id="259" r:id="rId8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presProps" Target="presProps.xml"/>
</Relationships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3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PlaceHolder 1"/>
          <p:cNvSpPr>
            <a:spLocks noGrp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lick to move the slide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99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r>
              <a:rPr b="0" lang="en-US" sz="2000" spc="-1" strike="noStrike">
                <a:latin typeface="Arial"/>
              </a:rPr>
              <a:t>Click to edit the notes format</a:t>
            </a:r>
            <a:endParaRPr b="0" lang="en-US" sz="2000" spc="-1" strike="noStrike">
              <a:latin typeface="Arial"/>
            </a:endParaRPr>
          </a:p>
        </p:txBody>
      </p:sp>
      <p:sp>
        <p:nvSpPr>
          <p:cNvPr id="100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r>
              <a:rPr b="0" lang="en-US" sz="1400" spc="-1" strike="noStrike">
                <a:latin typeface="Times New Roman"/>
              </a:rPr>
              <a:t>&lt;header&gt;</a:t>
            </a:r>
            <a:endParaRPr b="0" lang="en-US" sz="1400" spc="-1" strike="noStrike">
              <a:latin typeface="Times New Roman"/>
            </a:endParaRPr>
          </a:p>
        </p:txBody>
      </p:sp>
      <p:sp>
        <p:nvSpPr>
          <p:cNvPr id="101" name="PlaceHolder 4"/>
          <p:cNvSpPr>
            <a:spLocks noGrp="1"/>
          </p:cNvSpPr>
          <p:nvPr>
            <p:ph type="dt" idx="5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algn="r">
              <a:buNone/>
              <a:defRPr b="0" lang="en-US" sz="1400" spc="-1" strike="noStrike">
                <a:latin typeface="Times New Roman"/>
              </a:defRPr>
            </a:lvl1pPr>
          </a:lstStyle>
          <a:p>
            <a:pPr algn="r">
              <a:buNone/>
            </a:pPr>
            <a:r>
              <a:rPr b="0" lang="en-US" sz="1400" spc="-1" strike="noStrike">
                <a:latin typeface="Times New Roman"/>
              </a:rPr>
              <a:t>&lt;date/time&gt;</a:t>
            </a:r>
            <a:endParaRPr b="0" lang="en-US" sz="1400" spc="-1" strike="noStrike">
              <a:latin typeface="Times New Roman"/>
            </a:endParaRPr>
          </a:p>
        </p:txBody>
      </p:sp>
      <p:sp>
        <p:nvSpPr>
          <p:cNvPr id="102" name="PlaceHolder 5"/>
          <p:cNvSpPr>
            <a:spLocks noGrp="1"/>
          </p:cNvSpPr>
          <p:nvPr>
            <p:ph type="ftr" idx="6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>
              <a:defRPr b="0" lang="en-US" sz="1400" spc="-1" strike="noStrike">
                <a:latin typeface="Times New Roman"/>
              </a:defRPr>
            </a:lvl1pPr>
          </a:lstStyle>
          <a:p>
            <a:r>
              <a:rPr b="0" lang="en-US" sz="1400" spc="-1" strike="noStrike">
                <a:latin typeface="Times New Roman"/>
              </a:rPr>
              <a:t>&lt;footer&gt;</a:t>
            </a:r>
            <a:endParaRPr b="0" lang="en-US" sz="1400" spc="-1" strike="noStrike">
              <a:latin typeface="Times New Roman"/>
            </a:endParaRPr>
          </a:p>
        </p:txBody>
      </p:sp>
      <p:sp>
        <p:nvSpPr>
          <p:cNvPr id="103" name="PlaceHolder 6"/>
          <p:cNvSpPr>
            <a:spLocks noGrp="1"/>
          </p:cNvSpPr>
          <p:nvPr>
            <p:ph type="sldNum" idx="7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buNone/>
              <a:defRPr b="0" lang="en-US" sz="1400" spc="-1" strike="noStrike">
                <a:latin typeface="Times New Roman"/>
              </a:defRPr>
            </a:lvl1pPr>
          </a:lstStyle>
          <a:p>
            <a:pPr algn="r">
              <a:buNone/>
            </a:pPr>
            <a:fld id="{4D77D8F8-1A2F-462B-92E1-A800748AE20D}" type="slidenum">
              <a:rPr b="0" lang="en-US" sz="1400" spc="-1" strike="noStrike">
                <a:latin typeface="Times New Roman"/>
              </a:rPr>
              <a:t>&lt;number&gt;</a:t>
            </a:fld>
            <a:endParaRPr b="0" lang="en-US" sz="1400" spc="-1" strike="noStrike"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_rels/notesSlide2.xml.rels><?xml version="1.0" encoding="UTF-8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
</Relationships>
</file>

<file path=ppt/notesSlides/_rels/notesSlide3.xml.rels><?xml version="1.0" encoding="UTF-8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
</Relationships>
</file>

<file path=ppt/notesSlides/_rels/notesSlide4.xml.rels><?xml version="1.0" encoding="UTF-8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5680" cy="3085560"/>
          </a:xfrm>
          <a:prstGeom prst="rect">
            <a:avLst/>
          </a:prstGeom>
          <a:ln w="0">
            <a:noFill/>
          </a:ln>
        </p:spPr>
      </p:sp>
      <p:sp>
        <p:nvSpPr>
          <p:cNvPr id="157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680" cy="3599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158" name="PlaceHolder 3"/>
          <p:cNvSpPr>
            <a:spLocks noGrp="1"/>
          </p:cNvSpPr>
          <p:nvPr>
            <p:ph type="sldNum" idx="8"/>
          </p:nvPr>
        </p:nvSpPr>
        <p:spPr>
          <a:xfrm>
            <a:off x="3884760" y="8685360"/>
            <a:ext cx="2971080" cy="457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3CC39115-C9C6-4CA6-AC04-BE71F89C1FB2}" type="slidenum">
              <a:rPr b="0" lang="pt-BR" sz="1200" spc="-1" strike="noStrike">
                <a:solidFill>
                  <a:srgbClr val="000000"/>
                </a:solidFill>
                <a:latin typeface="+mn-lt"/>
                <a:ea typeface="+mn-ea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5680" cy="3085560"/>
          </a:xfrm>
          <a:prstGeom prst="rect">
            <a:avLst/>
          </a:prstGeom>
          <a:ln w="0">
            <a:noFill/>
          </a:ln>
        </p:spPr>
      </p:sp>
      <p:sp>
        <p:nvSpPr>
          <p:cNvPr id="160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680" cy="3599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161" name="PlaceHolder 3"/>
          <p:cNvSpPr>
            <a:spLocks noGrp="1"/>
          </p:cNvSpPr>
          <p:nvPr>
            <p:ph type="sldNum" idx="9"/>
          </p:nvPr>
        </p:nvSpPr>
        <p:spPr>
          <a:xfrm>
            <a:off x="3884760" y="8685360"/>
            <a:ext cx="2971080" cy="457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0C8009C6-8BAB-4902-B6C0-060BD2BA846D}" type="slidenum">
              <a:rPr b="0" lang="pt-BR" sz="1200" spc="-1" strike="noStrike">
                <a:solidFill>
                  <a:srgbClr val="000000"/>
                </a:solidFill>
                <a:latin typeface="+mn-lt"/>
                <a:ea typeface="+mn-ea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5680" cy="3085560"/>
          </a:xfrm>
          <a:prstGeom prst="rect">
            <a:avLst/>
          </a:prstGeom>
          <a:ln w="0">
            <a:noFill/>
          </a:ln>
        </p:spPr>
      </p:sp>
      <p:sp>
        <p:nvSpPr>
          <p:cNvPr id="163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680" cy="3599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164" name="PlaceHolder 3"/>
          <p:cNvSpPr>
            <a:spLocks noGrp="1"/>
          </p:cNvSpPr>
          <p:nvPr>
            <p:ph type="sldNum" idx="10"/>
          </p:nvPr>
        </p:nvSpPr>
        <p:spPr>
          <a:xfrm>
            <a:off x="3884760" y="8685360"/>
            <a:ext cx="2971080" cy="457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7BA32C68-C5AC-4C81-A41A-96A962C1B060}" type="slidenum">
              <a:rPr b="0" lang="pt-BR" sz="1200" spc="-1" strike="noStrike">
                <a:solidFill>
                  <a:srgbClr val="000000"/>
                </a:solidFill>
                <a:latin typeface="+mn-lt"/>
                <a:ea typeface="+mn-ea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5680" cy="3085560"/>
          </a:xfrm>
          <a:prstGeom prst="rect">
            <a:avLst/>
          </a:prstGeom>
          <a:ln w="0">
            <a:noFill/>
          </a:ln>
        </p:spPr>
      </p:sp>
      <p:sp>
        <p:nvSpPr>
          <p:cNvPr id="166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680" cy="3599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167" name="PlaceHolder 3"/>
          <p:cNvSpPr>
            <a:spLocks noGrp="1"/>
          </p:cNvSpPr>
          <p:nvPr>
            <p:ph type="sldNum" idx="11"/>
          </p:nvPr>
        </p:nvSpPr>
        <p:spPr>
          <a:xfrm>
            <a:off x="3884760" y="8685360"/>
            <a:ext cx="2971080" cy="457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FFDF38F2-8D37-4CF0-BED0-C866F07B0088}" type="slidenum">
              <a:rPr b="0" lang="pt-BR" sz="1200" spc="-1" strike="noStrike">
                <a:solidFill>
                  <a:srgbClr val="000000"/>
                </a:solidFill>
                <a:latin typeface="+mn-lt"/>
                <a:ea typeface="+mn-ea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2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E56685BA-48F0-412B-B105-2ACA7EDC6B67}" type="slidenum">
              <a:t>&lt;#&gt;</a:t>
            </a:fld>
          </a:p>
        </p:txBody>
      </p:sp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6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E0C84BF2-A884-4457-AD6F-74E4A4BCFFD7}" type="slidenum">
              <a:t>&lt;#&gt;</a:t>
            </a:fld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1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D673E82C-3ED9-4603-9FFE-5190809DB829}" type="slidenum">
              <a:t>&lt;#&gt;</a:t>
            </a:fld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4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4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5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6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7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8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FC11E247-398F-44EF-AAF5-5898A792C586}" type="slidenum">
              <a:t>&lt;#&gt;</a:t>
            </a:fld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368F2433-CCB9-430C-B0B6-E26C5B094386}" type="slidenum">
              <a:t>&lt;#&gt;</a:t>
            </a:fld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6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1F3F01FF-4E64-4008-A54A-CB077559E104}" type="slidenum">
              <a:t>&lt;#&gt;</a:t>
            </a:fld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6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5C9F2BA8-0804-4B15-A85A-F49437C67E20}" type="slidenum">
              <a:t>&lt;#&gt;</a:t>
            </a:fld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6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E113FAD9-2CFF-44E6-87F8-4A9BC1004478}" type="slidenum">
              <a:t>&lt;#&gt;</a:t>
            </a:fld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84E1468C-84D3-4E70-9737-C3CDDF2176E5}" type="slidenum">
              <a:t>&lt;#&gt;</a:t>
            </a:fld>
          </a:p>
        </p:txBody>
      </p:sp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2552F9AB-A601-4648-9073-1633748C80D8}" type="slidenum">
              <a:t>&lt;#&gt;</a:t>
            </a:fld>
          </a:p>
        </p:txBody>
      </p:sp>
    </p:spTree>
  </p:cSld>
</p:sldLayout>
</file>

<file path=ppt/slideLayouts/slideLayout1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7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7EE05C54-A645-4285-B10E-06C01D359E2C}" type="slidenum">
              <a:t>&lt;#&gt;</a:t>
            </a:fld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4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99E5911A-390D-45DE-BF21-4F3216F5CB1A}" type="slidenum">
              <a:t>&lt;#&gt;</a:t>
            </a:fld>
          </a:p>
        </p:txBody>
      </p:sp>
    </p:spTree>
  </p:cSld>
</p:sldLayout>
</file>

<file path=ppt/slideLayouts/slideLayout2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1105CEBA-D8CA-4D5A-82FB-D00B7D50DCF1}" type="slidenum">
              <a:t>&lt;#&gt;</a:t>
            </a:fld>
          </a:p>
        </p:txBody>
      </p:sp>
    </p:spTree>
  </p:cSld>
</p:sldLayout>
</file>

<file path=ppt/slideLayouts/slideLayout2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8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8AFA6E13-EC7B-4D7D-8AD1-FDBE67B65E97}" type="slidenum">
              <a:t>&lt;#&gt;</a:t>
            </a:fld>
          </a:p>
        </p:txBody>
      </p:sp>
    </p:spTree>
  </p:cSld>
</p:sldLayout>
</file>

<file path=ppt/slideLayouts/slideLayout2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8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6DE4C298-22FD-4645-B75A-342A117BFB8E}" type="slidenum">
              <a:t>&lt;#&gt;</a:t>
            </a:fld>
          </a:p>
        </p:txBody>
      </p:sp>
    </p:spTree>
  </p:cSld>
</p:sldLayout>
</file>

<file path=ppt/slideLayouts/slideLayout2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8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0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E55F7EC3-AAF3-402B-BE6E-24CD9B7E8348}" type="slidenum">
              <a:t>&lt;#&gt;</a:t>
            </a:fld>
          </a:p>
        </p:txBody>
      </p:sp>
    </p:spTree>
  </p:cSld>
</p:sldLayout>
</file>

<file path=ppt/slideLayouts/slideLayout2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9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3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4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6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7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49001ECF-FA5D-4F0A-850F-D36103775A57}" type="slidenum">
              <a:t>&lt;#&gt;</a:t>
            </a:fld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AAF568CC-4CB3-4974-A0A1-E80D523BDF07}" type="slidenum">
              <a:t>&lt;#&gt;</a:t>
            </a:fld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C4B7E9C7-258A-434A-BEBB-80624A792684}" type="slidenum">
              <a:t>&lt;#&gt;</a:t>
            </a:fld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6A18A61A-CE48-4756-B56D-8E9767EAF027}" type="slidenum">
              <a:t>&lt;#&gt;</a:t>
            </a:fld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BC62E494-E775-4AF1-AC27-1B3D816848CB}" type="slidenum">
              <a:t>&lt;#&gt;</a:t>
            </a:fld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3C64DEE4-24A5-42EB-8D05-278C52FEFA98}" type="slidenum">
              <a:t>&lt;#&gt;</a:t>
            </a:fld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9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B6E4C343-14F3-4E97-833F-0B4C7F5AAB0A}" type="slidenum">
              <a:t>&lt;#&gt;</a:t>
            </a:fld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46E95E52-0551-4362-97F2-53B3081CA8E1}" type="slidenum">
              <a:t>&lt;#&gt;</a:t>
            </a:fld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slideLayout" Target="../slideLayouts/slideLayout1.xml"/><Relationship Id="rId7" Type="http://schemas.openxmlformats.org/officeDocument/2006/relationships/slideLayout" Target="../slideLayouts/slideLayout2.xml"/><Relationship Id="rId8" Type="http://schemas.openxmlformats.org/officeDocument/2006/relationships/slideLayout" Target="../slideLayouts/slideLayout3.xml"/><Relationship Id="rId9" Type="http://schemas.openxmlformats.org/officeDocument/2006/relationships/slideLayout" Target="../slideLayouts/slideLayout4.xml"/><Relationship Id="rId10" Type="http://schemas.openxmlformats.org/officeDocument/2006/relationships/slideLayout" Target="../slideLayouts/slideLayout5.xml"/><Relationship Id="rId11" Type="http://schemas.openxmlformats.org/officeDocument/2006/relationships/slideLayout" Target="../slideLayouts/slideLayout6.xml"/><Relationship Id="rId12" Type="http://schemas.openxmlformats.org/officeDocument/2006/relationships/slideLayout" Target="../slideLayouts/slideLayout7.xml"/><Relationship Id="rId13" Type="http://schemas.openxmlformats.org/officeDocument/2006/relationships/slideLayout" Target="../slideLayouts/slideLayout8.xml"/><Relationship Id="rId14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11.xml"/><Relationship Id="rId17" Type="http://schemas.openxmlformats.org/officeDocument/2006/relationships/slideLayout" Target="../slideLayouts/slideLayout12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4.wmf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6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4.xml"/><Relationship Id="rId8" Type="http://schemas.openxmlformats.org/officeDocument/2006/relationships/slideLayout" Target="../slideLayouts/slideLayout15.xml"/><Relationship Id="rId9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4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Object 30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" name="Object 30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720" cy="72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2" name="Graphic 4" descr=""/>
          <p:cNvPicPr/>
          <p:nvPr/>
        </p:nvPicPr>
        <p:blipFill>
          <a:blip r:embed="rId4"/>
          <a:srcRect l="81836" t="-4712" r="0" b="16530"/>
          <a:stretch/>
        </p:blipFill>
        <p:spPr>
          <a:xfrm>
            <a:off x="11547720" y="188640"/>
            <a:ext cx="423720" cy="459000"/>
          </a:xfrm>
          <a:prstGeom prst="rect">
            <a:avLst/>
          </a:prstGeom>
          <a:ln w="0">
            <a:noFill/>
          </a:ln>
        </p:spPr>
      </p:pic>
      <p:sp>
        <p:nvSpPr>
          <p:cNvPr id="3" name="Conector reto 49"/>
          <p:cNvSpPr/>
          <p:nvPr/>
        </p:nvSpPr>
        <p:spPr>
          <a:xfrm flipV="1">
            <a:off x="11568600" y="6587640"/>
            <a:ext cx="360" cy="155520"/>
          </a:xfrm>
          <a:prstGeom prst="line">
            <a:avLst/>
          </a:prstGeom>
          <a:ln cap="rnd" w="12700">
            <a:solidFill>
              <a:srgbClr val="12abd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" name="TextBoxFileName"/>
          <p:cNvSpPr/>
          <p:nvPr/>
        </p:nvSpPr>
        <p:spPr>
          <a:xfrm>
            <a:off x="407880" y="6555960"/>
            <a:ext cx="3059280" cy="218880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36000" rIns="36000" tIns="36000" bIns="36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0" lang="da-DK" sz="800" spc="-1" strike="noStrike">
                <a:solidFill>
                  <a:srgbClr val="0070ad"/>
                </a:solidFill>
                <a:latin typeface="Verdana"/>
                <a:ea typeface="DejaVu Sans"/>
              </a:rPr>
              <a:t>1788316_EN_EN_OP_MLGO.pptx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5" name="CapgeminiBox" hidden="1"/>
          <p:cNvSpPr/>
          <p:nvPr/>
        </p:nvSpPr>
        <p:spPr>
          <a:xfrm>
            <a:off x="-2232360" y="18720"/>
            <a:ext cx="2231640" cy="285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400" spc="-1" strike="noStrike">
                <a:solidFill>
                  <a:srgbClr val="000000"/>
                </a:solidFill>
                <a:latin typeface="Verdana"/>
                <a:ea typeface="DejaVu Sans"/>
              </a:rPr>
              <a:t>Capgemini Global V8.0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6" name="Freeform: Shape 11"/>
          <p:cNvSpPr/>
          <p:nvPr/>
        </p:nvSpPr>
        <p:spPr>
          <a:xfrm>
            <a:off x="0" y="2698200"/>
            <a:ext cx="6261480" cy="4159080"/>
          </a:xfrm>
          <a:custGeom>
            <a:avLst/>
            <a:gdLst/>
            <a:ahLst/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7" name="Oval 20"/>
          <p:cNvSpPr/>
          <p:nvPr/>
        </p:nvSpPr>
        <p:spPr>
          <a:xfrm>
            <a:off x="407880" y="1124640"/>
            <a:ext cx="2374920" cy="2303640"/>
          </a:xfrm>
          <a:custGeom>
            <a:avLst/>
            <a:gdLst/>
            <a:ahLst/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8" name="Capgemini Logo" descr=""/>
          <p:cNvPicPr/>
          <p:nvPr/>
        </p:nvPicPr>
        <p:blipFill>
          <a:blip r:embed="rId5"/>
          <a:stretch/>
        </p:blipFill>
        <p:spPr>
          <a:xfrm>
            <a:off x="9685800" y="188640"/>
            <a:ext cx="2285640" cy="511560"/>
          </a:xfrm>
          <a:prstGeom prst="rect">
            <a:avLst/>
          </a:prstGeom>
          <a:ln w="0">
            <a:noFill/>
          </a:ln>
        </p:spPr>
      </p:pic>
      <p:sp>
        <p:nvSpPr>
          <p:cNvPr id="9" name="PlaceHolder 1"/>
          <p:cNvSpPr>
            <a:spLocks noGrp="1"/>
          </p:cNvSpPr>
          <p:nvPr>
            <p:ph type="ftr" idx="1"/>
          </p:nvPr>
        </p:nvSpPr>
        <p:spPr>
          <a:xfrm>
            <a:off x="9324000" y="6555600"/>
            <a:ext cx="2223000" cy="2188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>
              <a:lnSpc>
                <a:spcPct val="100000"/>
              </a:lnSpc>
              <a:buNone/>
              <a:defRPr b="0" lang="en-US" sz="800" spc="-1" strike="noStrike">
                <a:solidFill>
                  <a:srgbClr val="767676"/>
                </a:solidFill>
                <a:latin typeface="Verdana"/>
              </a:defRPr>
            </a:lvl1pPr>
          </a:lstStyle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</a:rPr>
              <a:t>&lt;footer&gt;</a:t>
            </a:r>
            <a:endParaRPr b="0" lang="en-US" sz="800" spc="-1" strike="noStrike">
              <a:latin typeface="Times New Roman"/>
            </a:endParaRPr>
          </a:p>
        </p:txBody>
      </p:sp>
      <p:sp>
        <p:nvSpPr>
          <p:cNvPr id="10" name="PlaceHolder 2"/>
          <p:cNvSpPr>
            <a:spLocks noGrp="1"/>
          </p:cNvSpPr>
          <p:nvPr>
            <p:ph type="sldNum" idx="2"/>
          </p:nvPr>
        </p:nvSpPr>
        <p:spPr>
          <a:xfrm>
            <a:off x="11783880" y="6555600"/>
            <a:ext cx="123120" cy="21456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 algn="ctr">
              <a:lnSpc>
                <a:spcPct val="100000"/>
              </a:lnSpc>
              <a:buNone/>
              <a:defRPr b="0" lang="en-US" sz="800" spc="-1" strike="noStrike">
                <a:solidFill>
                  <a:srgbClr val="767676"/>
                </a:solidFill>
                <a:latin typeface="Verdana"/>
              </a:defRPr>
            </a:lvl1pPr>
          </a:lstStyle>
          <a:p>
            <a:pPr algn="ctr">
              <a:lnSpc>
                <a:spcPct val="100000"/>
              </a:lnSpc>
              <a:buNone/>
            </a:pPr>
            <a:fld id="{12EF419F-FB3C-4C79-8597-9DB981E6B205}" type="slidenum">
              <a:rPr b="0" lang="en-US" sz="800" spc="-1" strike="noStrike">
                <a:solidFill>
                  <a:srgbClr val="767676"/>
                </a:solidFill>
                <a:latin typeface="Verdana"/>
              </a:rPr>
              <a:t>&lt;number&gt;</a:t>
            </a:fld>
            <a:endParaRPr b="0" lang="en-US" sz="800" spc="-1" strike="noStrike">
              <a:latin typeface="Times New Roman"/>
            </a:endParaRPr>
          </a:p>
        </p:txBody>
      </p:sp>
      <p:sp>
        <p:nvSpPr>
          <p:cNvPr id="11" name="PlaceHolder 3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li</a:t>
            </a:r>
            <a:r>
              <a:rPr b="0" lang="en-US" sz="4400" spc="-1" strike="noStrike">
                <a:latin typeface="Arial"/>
              </a:rPr>
              <a:t>ck </a:t>
            </a:r>
            <a:r>
              <a:rPr b="0" lang="en-US" sz="4400" spc="-1" strike="noStrike">
                <a:latin typeface="Arial"/>
              </a:rPr>
              <a:t>to </a:t>
            </a:r>
            <a:r>
              <a:rPr b="0" lang="en-US" sz="4400" spc="-1" strike="noStrike">
                <a:latin typeface="Arial"/>
              </a:rPr>
              <a:t>edit </a:t>
            </a:r>
            <a:r>
              <a:rPr b="0" lang="en-US" sz="4400" spc="-1" strike="noStrike">
                <a:latin typeface="Arial"/>
              </a:rPr>
              <a:t>the </a:t>
            </a:r>
            <a:r>
              <a:rPr b="0" lang="en-US" sz="4400" spc="-1" strike="noStrike">
                <a:latin typeface="Arial"/>
              </a:rPr>
              <a:t>title </a:t>
            </a:r>
            <a:r>
              <a:rPr b="0" lang="en-US" sz="4400" spc="-1" strike="noStrike">
                <a:latin typeface="Arial"/>
              </a:rPr>
              <a:t>text </a:t>
            </a:r>
            <a:r>
              <a:rPr b="0" lang="en-US" sz="4400" spc="-1" strike="noStrike">
                <a:latin typeface="Arial"/>
              </a:rPr>
              <a:t>for</a:t>
            </a:r>
            <a:r>
              <a:rPr b="0" lang="en-US" sz="4400" spc="-1" strike="noStrike">
                <a:latin typeface="Arial"/>
              </a:rPr>
              <a:t>ma</a:t>
            </a:r>
            <a:r>
              <a:rPr b="0" lang="en-US" sz="4400" spc="-1" strike="noStrike">
                <a:latin typeface="Arial"/>
              </a:rPr>
              <a:t>t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12" name="PlaceHolder 4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3200" spc="-1" strike="noStrike">
                <a:latin typeface="Arial"/>
              </a:rPr>
              <a:t>Click to edit </a:t>
            </a:r>
            <a:r>
              <a:rPr b="0" lang="en-US" sz="3200" spc="-1" strike="noStrike">
                <a:latin typeface="Arial"/>
              </a:rPr>
              <a:t>the outline </a:t>
            </a:r>
            <a:r>
              <a:rPr b="0" lang="en-US" sz="3200" spc="-1" strike="noStrike">
                <a:latin typeface="Arial"/>
              </a:rPr>
              <a:t>text format</a:t>
            </a:r>
            <a:endParaRPr b="0" lang="en-US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800" spc="-1" strike="noStrike">
                <a:latin typeface="Arial"/>
              </a:rPr>
              <a:t>Second </a:t>
            </a:r>
            <a:r>
              <a:rPr b="0" lang="en-US" sz="2800" spc="-1" strike="noStrike">
                <a:latin typeface="Arial"/>
              </a:rPr>
              <a:t>Outline Level</a:t>
            </a:r>
            <a:endParaRPr b="0" lang="en-US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400" spc="-1" strike="noStrike">
                <a:latin typeface="Arial"/>
              </a:rPr>
              <a:t>Third </a:t>
            </a:r>
            <a:r>
              <a:rPr b="0" lang="en-US" sz="2400" spc="-1" strike="noStrike">
                <a:latin typeface="Arial"/>
              </a:rPr>
              <a:t>Outline </a:t>
            </a:r>
            <a:r>
              <a:rPr b="0" lang="en-US" sz="2400" spc="-1" strike="noStrike">
                <a:latin typeface="Arial"/>
              </a:rPr>
              <a:t>Level</a:t>
            </a:r>
            <a:endParaRPr b="0" lang="en-US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000" spc="-1" strike="noStrike">
                <a:latin typeface="Arial"/>
              </a:rPr>
              <a:t>Fourth </a:t>
            </a:r>
            <a:r>
              <a:rPr b="0" lang="en-US" sz="2000" spc="-1" strike="noStrike">
                <a:latin typeface="Arial"/>
              </a:rPr>
              <a:t>Outline </a:t>
            </a:r>
            <a:r>
              <a:rPr b="0" lang="en-US" sz="2000" spc="-1" strike="noStrike">
                <a:latin typeface="Arial"/>
              </a:rPr>
              <a:t>Level</a:t>
            </a:r>
            <a:endParaRPr b="0" lang="en-US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Fifth </a:t>
            </a:r>
            <a:r>
              <a:rPr b="0" lang="en-US" sz="2000" spc="-1" strike="noStrike">
                <a:latin typeface="Arial"/>
              </a:rPr>
              <a:t>Outline </a:t>
            </a:r>
            <a:r>
              <a:rPr b="0" lang="en-US" sz="2000" spc="-1" strike="noStrike">
                <a:latin typeface="Arial"/>
              </a:rPr>
              <a:t>Level</a:t>
            </a:r>
            <a:endParaRPr b="0" lang="en-US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ix</a:t>
            </a:r>
            <a:r>
              <a:rPr b="0" lang="en-US" sz="2000" spc="-1" strike="noStrike">
                <a:latin typeface="Arial"/>
              </a:rPr>
              <a:t>th </a:t>
            </a:r>
            <a:r>
              <a:rPr b="0" lang="en-US" sz="2000" spc="-1" strike="noStrike">
                <a:latin typeface="Arial"/>
              </a:rPr>
              <a:t>Out</a:t>
            </a:r>
            <a:r>
              <a:rPr b="0" lang="en-US" sz="2000" spc="-1" strike="noStrike">
                <a:latin typeface="Arial"/>
              </a:rPr>
              <a:t>line </a:t>
            </a:r>
            <a:r>
              <a:rPr b="0" lang="en-US" sz="2000" spc="-1" strike="noStrike">
                <a:latin typeface="Arial"/>
              </a:rPr>
              <a:t>Lev</a:t>
            </a:r>
            <a:r>
              <a:rPr b="0" lang="en-US" sz="2000" spc="-1" strike="noStrike">
                <a:latin typeface="Arial"/>
              </a:rPr>
              <a:t>el</a:t>
            </a:r>
            <a:endParaRPr b="0" lang="en-US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v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n</a:t>
            </a:r>
            <a:r>
              <a:rPr b="0" lang="en-US" sz="2000" spc="-1" strike="noStrike">
                <a:latin typeface="Arial"/>
              </a:rPr>
              <a:t>t</a:t>
            </a:r>
            <a:r>
              <a:rPr b="0" lang="en-US" sz="2000" spc="-1" strike="noStrike">
                <a:latin typeface="Arial"/>
              </a:rPr>
              <a:t>h</a:t>
            </a:r>
            <a:r>
              <a:rPr b="0" lang="en-US" sz="2000" spc="-1" strike="noStrike">
                <a:latin typeface="Arial"/>
              </a:rPr>
              <a:t> </a:t>
            </a:r>
            <a:r>
              <a:rPr b="0" lang="en-US" sz="2000" spc="-1" strike="noStrike">
                <a:latin typeface="Arial"/>
              </a:rPr>
              <a:t>O</a:t>
            </a:r>
            <a:r>
              <a:rPr b="0" lang="en-US" sz="2000" spc="-1" strike="noStrike">
                <a:latin typeface="Arial"/>
              </a:rPr>
              <a:t>u</a:t>
            </a:r>
            <a:r>
              <a:rPr b="0" lang="en-US" sz="2000" spc="-1" strike="noStrike">
                <a:latin typeface="Arial"/>
              </a:rPr>
              <a:t>t</a:t>
            </a:r>
            <a:r>
              <a:rPr b="0" lang="en-US" sz="2000" spc="-1" strike="noStrike">
                <a:latin typeface="Arial"/>
              </a:rPr>
              <a:t>l</a:t>
            </a:r>
            <a:r>
              <a:rPr b="0" lang="en-US" sz="2000" spc="-1" strike="noStrike">
                <a:latin typeface="Arial"/>
              </a:rPr>
              <a:t>i</a:t>
            </a:r>
            <a:r>
              <a:rPr b="0" lang="en-US" sz="2000" spc="-1" strike="noStrike">
                <a:latin typeface="Arial"/>
              </a:rPr>
              <a:t>n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 </a:t>
            </a:r>
            <a:r>
              <a:rPr b="0" lang="en-US" sz="2000" spc="-1" strike="noStrike">
                <a:latin typeface="Arial"/>
              </a:rPr>
              <a:t>L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v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l</a:t>
            </a:r>
            <a:endParaRPr b="0" lang="en-US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6"/>
    <p:sldLayoutId id="214748365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59" r:id="rId16"/>
    <p:sldLayoutId id="2147483660" r:id="rId17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30"/>
          <p:cNvGraphicFramePr/>
          <p:nvPr/>
        </p:nvGraphicFramePr>
        <p:xfrm>
          <a:off x="1440" y="1440"/>
          <a:ext cx="720" cy="72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50" name="Object 30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720" cy="72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51" name="Graphic 4" descr=""/>
          <p:cNvPicPr/>
          <p:nvPr/>
        </p:nvPicPr>
        <p:blipFill>
          <a:blip r:embed="rId4"/>
          <a:srcRect l="81836" t="-4712" r="0" b="16530"/>
          <a:stretch/>
        </p:blipFill>
        <p:spPr>
          <a:xfrm>
            <a:off x="11547720" y="188640"/>
            <a:ext cx="423720" cy="459000"/>
          </a:xfrm>
          <a:prstGeom prst="rect">
            <a:avLst/>
          </a:prstGeom>
          <a:ln w="0">
            <a:noFill/>
          </a:ln>
        </p:spPr>
      </p:pic>
      <p:sp>
        <p:nvSpPr>
          <p:cNvPr id="52" name="Conector reto 49"/>
          <p:cNvSpPr/>
          <p:nvPr/>
        </p:nvSpPr>
        <p:spPr>
          <a:xfrm flipV="1">
            <a:off x="11568600" y="6587640"/>
            <a:ext cx="360" cy="155520"/>
          </a:xfrm>
          <a:prstGeom prst="line">
            <a:avLst/>
          </a:prstGeom>
          <a:ln cap="rnd" w="12700">
            <a:solidFill>
              <a:srgbClr val="12abd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53" name="TextBoxFileName"/>
          <p:cNvSpPr/>
          <p:nvPr/>
        </p:nvSpPr>
        <p:spPr>
          <a:xfrm>
            <a:off x="407880" y="6555960"/>
            <a:ext cx="3059280" cy="218880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36000" rIns="36000" tIns="36000" bIns="36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0" lang="da-DK" sz="800" spc="-1" strike="noStrike">
                <a:solidFill>
                  <a:srgbClr val="0070ad"/>
                </a:solidFill>
                <a:latin typeface="Verdana"/>
                <a:ea typeface="DejaVu Sans"/>
              </a:rPr>
              <a:t>1788316_EN_EN_OP_MLGO.pptx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54" name="CapgeminiBox" hidden="1"/>
          <p:cNvSpPr/>
          <p:nvPr/>
        </p:nvSpPr>
        <p:spPr>
          <a:xfrm>
            <a:off x="-2232360" y="18720"/>
            <a:ext cx="2231640" cy="285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400" spc="-1" strike="noStrike">
                <a:solidFill>
                  <a:srgbClr val="000000"/>
                </a:solidFill>
                <a:latin typeface="Verdana"/>
                <a:ea typeface="DejaVu Sans"/>
              </a:rPr>
              <a:t>Capgemini Global V8.0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55" name="Freeform: Shape 11"/>
          <p:cNvSpPr/>
          <p:nvPr/>
        </p:nvSpPr>
        <p:spPr>
          <a:xfrm>
            <a:off x="0" y="2698200"/>
            <a:ext cx="6261480" cy="4159080"/>
          </a:xfrm>
          <a:custGeom>
            <a:avLst/>
            <a:gdLst/>
            <a:ahLst/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56" name="Oval 20"/>
          <p:cNvSpPr/>
          <p:nvPr/>
        </p:nvSpPr>
        <p:spPr>
          <a:xfrm>
            <a:off x="407880" y="1124640"/>
            <a:ext cx="2374920" cy="2303640"/>
          </a:xfrm>
          <a:custGeom>
            <a:avLst/>
            <a:gdLst/>
            <a:ahLst/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57" name="Capgemini Logo" descr=""/>
          <p:cNvPicPr/>
          <p:nvPr/>
        </p:nvPicPr>
        <p:blipFill>
          <a:blip r:embed="rId5"/>
          <a:stretch/>
        </p:blipFill>
        <p:spPr>
          <a:xfrm>
            <a:off x="9685800" y="188640"/>
            <a:ext cx="2285640" cy="511560"/>
          </a:xfrm>
          <a:prstGeom prst="rect">
            <a:avLst/>
          </a:prstGeom>
          <a:ln w="0">
            <a:noFill/>
          </a:ln>
        </p:spPr>
      </p:pic>
      <p:sp>
        <p:nvSpPr>
          <p:cNvPr id="58" name="PlaceHolder 1"/>
          <p:cNvSpPr>
            <a:spLocks noGrp="1"/>
          </p:cNvSpPr>
          <p:nvPr>
            <p:ph type="ftr" idx="3"/>
          </p:nvPr>
        </p:nvSpPr>
        <p:spPr>
          <a:xfrm>
            <a:off x="9324000" y="6555600"/>
            <a:ext cx="2223000" cy="2188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>
              <a:lnSpc>
                <a:spcPct val="100000"/>
              </a:lnSpc>
              <a:buNone/>
              <a:defRPr b="0" lang="en-US" sz="800" spc="-1" strike="noStrike">
                <a:solidFill>
                  <a:srgbClr val="767676"/>
                </a:solidFill>
                <a:latin typeface="Verdana"/>
              </a:defRPr>
            </a:lvl1pPr>
          </a:lstStyle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</a:rPr>
              <a:t>&lt;footer&gt;</a:t>
            </a:r>
            <a:endParaRPr b="0" lang="en-US" sz="800" spc="-1" strike="noStrike">
              <a:latin typeface="Times New Roman"/>
            </a:endParaRPr>
          </a:p>
        </p:txBody>
      </p:sp>
      <p:sp>
        <p:nvSpPr>
          <p:cNvPr id="59" name="PlaceHolder 2"/>
          <p:cNvSpPr>
            <a:spLocks noGrp="1"/>
          </p:cNvSpPr>
          <p:nvPr>
            <p:ph type="sldNum" idx="4"/>
          </p:nvPr>
        </p:nvSpPr>
        <p:spPr>
          <a:xfrm>
            <a:off x="11783880" y="6555600"/>
            <a:ext cx="123120" cy="21456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 algn="ctr">
              <a:lnSpc>
                <a:spcPct val="100000"/>
              </a:lnSpc>
              <a:buNone/>
              <a:defRPr b="0" lang="en-US" sz="800" spc="-1" strike="noStrike">
                <a:solidFill>
                  <a:srgbClr val="767676"/>
                </a:solidFill>
                <a:latin typeface="Verdana"/>
              </a:defRPr>
            </a:lvl1pPr>
          </a:lstStyle>
          <a:p>
            <a:pPr algn="ctr">
              <a:lnSpc>
                <a:spcPct val="100000"/>
              </a:lnSpc>
              <a:buNone/>
            </a:pPr>
            <a:fld id="{05EB687E-D4F7-493F-8B01-61F385E49658}" type="slidenum">
              <a:rPr b="0" lang="en-US" sz="800" spc="-1" strike="noStrike">
                <a:solidFill>
                  <a:srgbClr val="767676"/>
                </a:solidFill>
                <a:latin typeface="Verdana"/>
              </a:rPr>
              <a:t>&lt;number&gt;</a:t>
            </a:fld>
            <a:endParaRPr b="0" lang="en-US" sz="800" spc="-1" strike="noStrike">
              <a:latin typeface="Times New Roman"/>
            </a:endParaRPr>
          </a:p>
        </p:txBody>
      </p:sp>
      <p:sp>
        <p:nvSpPr>
          <p:cNvPr id="60" name="PlaceHolder 3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li</a:t>
            </a:r>
            <a:r>
              <a:rPr b="0" lang="en-US" sz="4400" spc="-1" strike="noStrike">
                <a:latin typeface="Arial"/>
              </a:rPr>
              <a:t>ck </a:t>
            </a:r>
            <a:r>
              <a:rPr b="0" lang="en-US" sz="4400" spc="-1" strike="noStrike">
                <a:latin typeface="Arial"/>
              </a:rPr>
              <a:t>to </a:t>
            </a:r>
            <a:r>
              <a:rPr b="0" lang="en-US" sz="4400" spc="-1" strike="noStrike">
                <a:latin typeface="Arial"/>
              </a:rPr>
              <a:t>edit </a:t>
            </a:r>
            <a:r>
              <a:rPr b="0" lang="en-US" sz="4400" spc="-1" strike="noStrike">
                <a:latin typeface="Arial"/>
              </a:rPr>
              <a:t>the </a:t>
            </a:r>
            <a:r>
              <a:rPr b="0" lang="en-US" sz="4400" spc="-1" strike="noStrike">
                <a:latin typeface="Arial"/>
              </a:rPr>
              <a:t>title </a:t>
            </a:r>
            <a:r>
              <a:rPr b="0" lang="en-US" sz="4400" spc="-1" strike="noStrike">
                <a:latin typeface="Arial"/>
              </a:rPr>
              <a:t>text </a:t>
            </a:r>
            <a:r>
              <a:rPr b="0" lang="en-US" sz="4400" spc="-1" strike="noStrike">
                <a:latin typeface="Arial"/>
              </a:rPr>
              <a:t>for</a:t>
            </a:r>
            <a:r>
              <a:rPr b="0" lang="en-US" sz="4400" spc="-1" strike="noStrike">
                <a:latin typeface="Arial"/>
              </a:rPr>
              <a:t>ma</a:t>
            </a:r>
            <a:r>
              <a:rPr b="0" lang="en-US" sz="4400" spc="-1" strike="noStrike">
                <a:latin typeface="Arial"/>
              </a:rPr>
              <a:t>t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61" name="PlaceHolder 4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3200" spc="-1" strike="noStrike">
                <a:latin typeface="Arial"/>
              </a:rPr>
              <a:t>Click to edit </a:t>
            </a:r>
            <a:r>
              <a:rPr b="0" lang="en-US" sz="3200" spc="-1" strike="noStrike">
                <a:latin typeface="Arial"/>
              </a:rPr>
              <a:t>the outline </a:t>
            </a:r>
            <a:r>
              <a:rPr b="0" lang="en-US" sz="3200" spc="-1" strike="noStrike">
                <a:latin typeface="Arial"/>
              </a:rPr>
              <a:t>text format</a:t>
            </a:r>
            <a:endParaRPr b="0" lang="en-US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800" spc="-1" strike="noStrike">
                <a:latin typeface="Arial"/>
              </a:rPr>
              <a:t>Second </a:t>
            </a:r>
            <a:r>
              <a:rPr b="0" lang="en-US" sz="2800" spc="-1" strike="noStrike">
                <a:latin typeface="Arial"/>
              </a:rPr>
              <a:t>Outline Level</a:t>
            </a:r>
            <a:endParaRPr b="0" lang="en-US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400" spc="-1" strike="noStrike">
                <a:latin typeface="Arial"/>
              </a:rPr>
              <a:t>Third </a:t>
            </a:r>
            <a:r>
              <a:rPr b="0" lang="en-US" sz="2400" spc="-1" strike="noStrike">
                <a:latin typeface="Arial"/>
              </a:rPr>
              <a:t>Outline </a:t>
            </a:r>
            <a:r>
              <a:rPr b="0" lang="en-US" sz="2400" spc="-1" strike="noStrike">
                <a:latin typeface="Arial"/>
              </a:rPr>
              <a:t>Level</a:t>
            </a:r>
            <a:endParaRPr b="0" lang="en-US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000" spc="-1" strike="noStrike">
                <a:latin typeface="Arial"/>
              </a:rPr>
              <a:t>Fourth </a:t>
            </a:r>
            <a:r>
              <a:rPr b="0" lang="en-US" sz="2000" spc="-1" strike="noStrike">
                <a:latin typeface="Arial"/>
              </a:rPr>
              <a:t>Outline </a:t>
            </a:r>
            <a:r>
              <a:rPr b="0" lang="en-US" sz="2000" spc="-1" strike="noStrike">
                <a:latin typeface="Arial"/>
              </a:rPr>
              <a:t>Level</a:t>
            </a:r>
            <a:endParaRPr b="0" lang="en-US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Fifth </a:t>
            </a:r>
            <a:r>
              <a:rPr b="0" lang="en-US" sz="2000" spc="-1" strike="noStrike">
                <a:latin typeface="Arial"/>
              </a:rPr>
              <a:t>Outline </a:t>
            </a:r>
            <a:r>
              <a:rPr b="0" lang="en-US" sz="2000" spc="-1" strike="noStrike">
                <a:latin typeface="Arial"/>
              </a:rPr>
              <a:t>Level</a:t>
            </a:r>
            <a:endParaRPr b="0" lang="en-US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ix</a:t>
            </a:r>
            <a:r>
              <a:rPr b="0" lang="en-US" sz="2000" spc="-1" strike="noStrike">
                <a:latin typeface="Arial"/>
              </a:rPr>
              <a:t>th </a:t>
            </a:r>
            <a:r>
              <a:rPr b="0" lang="en-US" sz="2000" spc="-1" strike="noStrike">
                <a:latin typeface="Arial"/>
              </a:rPr>
              <a:t>Out</a:t>
            </a:r>
            <a:r>
              <a:rPr b="0" lang="en-US" sz="2000" spc="-1" strike="noStrike">
                <a:latin typeface="Arial"/>
              </a:rPr>
              <a:t>line </a:t>
            </a:r>
            <a:r>
              <a:rPr b="0" lang="en-US" sz="2000" spc="-1" strike="noStrike">
                <a:latin typeface="Arial"/>
              </a:rPr>
              <a:t>Lev</a:t>
            </a:r>
            <a:r>
              <a:rPr b="0" lang="en-US" sz="2000" spc="-1" strike="noStrike">
                <a:latin typeface="Arial"/>
              </a:rPr>
              <a:t>el</a:t>
            </a:r>
            <a:endParaRPr b="0" lang="en-US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v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n</a:t>
            </a:r>
            <a:r>
              <a:rPr b="0" lang="en-US" sz="2000" spc="-1" strike="noStrike">
                <a:latin typeface="Arial"/>
              </a:rPr>
              <a:t>t</a:t>
            </a:r>
            <a:r>
              <a:rPr b="0" lang="en-US" sz="2000" spc="-1" strike="noStrike">
                <a:latin typeface="Arial"/>
              </a:rPr>
              <a:t>h</a:t>
            </a:r>
            <a:r>
              <a:rPr b="0" lang="en-US" sz="2000" spc="-1" strike="noStrike">
                <a:latin typeface="Arial"/>
              </a:rPr>
              <a:t> </a:t>
            </a:r>
            <a:r>
              <a:rPr b="0" lang="en-US" sz="2000" spc="-1" strike="noStrike">
                <a:latin typeface="Arial"/>
              </a:rPr>
              <a:t>O</a:t>
            </a:r>
            <a:r>
              <a:rPr b="0" lang="en-US" sz="2000" spc="-1" strike="noStrike">
                <a:latin typeface="Arial"/>
              </a:rPr>
              <a:t>u</a:t>
            </a:r>
            <a:r>
              <a:rPr b="0" lang="en-US" sz="2000" spc="-1" strike="noStrike">
                <a:latin typeface="Arial"/>
              </a:rPr>
              <a:t>t</a:t>
            </a:r>
            <a:r>
              <a:rPr b="0" lang="en-US" sz="2000" spc="-1" strike="noStrike">
                <a:latin typeface="Arial"/>
              </a:rPr>
              <a:t>l</a:t>
            </a:r>
            <a:r>
              <a:rPr b="0" lang="en-US" sz="2000" spc="-1" strike="noStrike">
                <a:latin typeface="Arial"/>
              </a:rPr>
              <a:t>i</a:t>
            </a:r>
            <a:r>
              <a:rPr b="0" lang="en-US" sz="2000" spc="-1" strike="noStrike">
                <a:latin typeface="Arial"/>
              </a:rPr>
              <a:t>n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 </a:t>
            </a:r>
            <a:r>
              <a:rPr b="0" lang="en-US" sz="2000" spc="-1" strike="noStrike">
                <a:latin typeface="Arial"/>
              </a:rPr>
              <a:t>L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v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l</a:t>
            </a:r>
            <a:endParaRPr b="0" lang="en-US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3" r:id="rId17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ext Placeholder 17"/>
          <p:cNvSpPr/>
          <p:nvPr/>
        </p:nvSpPr>
        <p:spPr>
          <a:xfrm>
            <a:off x="3529080" y="908640"/>
            <a:ext cx="4067280" cy="547200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05" name="Text Placeholder 17"/>
          <p:cNvSpPr/>
          <p:nvPr/>
        </p:nvSpPr>
        <p:spPr>
          <a:xfrm>
            <a:off x="7707960" y="914400"/>
            <a:ext cx="4219920" cy="546624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06" name="PlaceHolder 1"/>
          <p:cNvSpPr>
            <a:spLocks noGrp="1"/>
          </p:cNvSpPr>
          <p:nvPr>
            <p:ph/>
          </p:nvPr>
        </p:nvSpPr>
        <p:spPr>
          <a:xfrm>
            <a:off x="7747920" y="914400"/>
            <a:ext cx="4175640" cy="411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US" sz="1400" spc="-1" strike="noStrike">
                <a:solidFill>
                  <a:srgbClr val="12abdb"/>
                </a:solidFill>
                <a:latin typeface="Verdana"/>
              </a:rPr>
              <a:t>Experience (1/4)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07" name="PlaceHolder 2"/>
          <p:cNvSpPr>
            <a:spLocks noGrp="1"/>
          </p:cNvSpPr>
          <p:nvPr>
            <p:ph/>
          </p:nvPr>
        </p:nvSpPr>
        <p:spPr>
          <a:xfrm>
            <a:off x="3584160" y="959760"/>
            <a:ext cx="3959280" cy="411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12abdb"/>
                </a:solidFill>
                <a:latin typeface="Verdana"/>
              </a:rPr>
              <a:t>Education &amp; Employment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08" name="PlaceHolder 3"/>
          <p:cNvSpPr>
            <a:spLocks noGrp="1"/>
          </p:cNvSpPr>
          <p:nvPr>
            <p:ph/>
          </p:nvPr>
        </p:nvSpPr>
        <p:spPr>
          <a:xfrm>
            <a:off x="407880" y="5580720"/>
            <a:ext cx="3022920" cy="331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Languag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09" name="PlaceHolder 4"/>
          <p:cNvSpPr>
            <a:spLocks noGrp="1"/>
          </p:cNvSpPr>
          <p:nvPr>
            <p:ph/>
          </p:nvPr>
        </p:nvSpPr>
        <p:spPr>
          <a:xfrm>
            <a:off x="407880" y="3601800"/>
            <a:ext cx="3022920" cy="411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marL="228600" indent="-227520">
              <a:lnSpc>
                <a:spcPct val="9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1" lang="en-US" sz="2000" spc="-1" strike="noStrike">
                <a:solidFill>
                  <a:srgbClr val="ffffff"/>
                </a:solidFill>
                <a:latin typeface="Calibri"/>
                <a:ea typeface="DejaVu Sans"/>
              </a:rPr>
              <a:t>Grosjean Nicolas</a:t>
            </a:r>
            <a:endParaRPr b="0" lang="en-US" sz="2000" spc="-1" strike="noStrike">
              <a:latin typeface="Arial"/>
            </a:endParaRPr>
          </a:p>
        </p:txBody>
      </p:sp>
      <p:sp>
        <p:nvSpPr>
          <p:cNvPr id="110" name="PlaceHolder 5"/>
          <p:cNvSpPr>
            <a:spLocks noGrp="1"/>
          </p:cNvSpPr>
          <p:nvPr>
            <p:ph/>
          </p:nvPr>
        </p:nvSpPr>
        <p:spPr>
          <a:xfrm>
            <a:off x="407880" y="4038120"/>
            <a:ext cx="302292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Architect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11" name="PlaceHolder 6"/>
          <p:cNvSpPr>
            <a:spLocks noGrp="1"/>
          </p:cNvSpPr>
          <p:nvPr>
            <p:ph/>
          </p:nvPr>
        </p:nvSpPr>
        <p:spPr>
          <a:xfrm>
            <a:off x="407880" y="5913360"/>
            <a:ext cx="302292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200" spc="-1" strike="noStrike">
                <a:solidFill>
                  <a:srgbClr val="ffffff"/>
                </a:solidFill>
                <a:latin typeface="Calibri"/>
                <a:ea typeface="DejaVu Sans"/>
              </a:rPr>
              <a:t>French(native), English (fluent), German(B2)</a:t>
            </a:r>
            <a:endParaRPr b="0" lang="en-US" sz="1200" spc="-1" strike="noStrike">
              <a:latin typeface="Arial"/>
            </a:endParaRPr>
          </a:p>
        </p:txBody>
      </p:sp>
      <p:sp>
        <p:nvSpPr>
          <p:cNvPr id="112" name="PlaceHolder 7"/>
          <p:cNvSpPr>
            <a:spLocks noGrp="1"/>
          </p:cNvSpPr>
          <p:nvPr>
            <p:ph/>
          </p:nvPr>
        </p:nvSpPr>
        <p:spPr>
          <a:xfrm>
            <a:off x="3584160" y="2559960"/>
            <a:ext cx="3959280" cy="411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12abdb"/>
                </a:solidFill>
                <a:latin typeface="Verdana"/>
              </a:rPr>
              <a:t>Qualification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13" name="PlaceHolder 8"/>
          <p:cNvSpPr>
            <a:spLocks noGrp="1"/>
          </p:cNvSpPr>
          <p:nvPr>
            <p:ph/>
          </p:nvPr>
        </p:nvSpPr>
        <p:spPr>
          <a:xfrm>
            <a:off x="407880" y="4484520"/>
            <a:ext cx="3022920" cy="331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Key Competenci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14" name="PlaceHolder 9"/>
          <p:cNvSpPr>
            <a:spLocks noGrp="1"/>
          </p:cNvSpPr>
          <p:nvPr>
            <p:ph/>
          </p:nvPr>
        </p:nvSpPr>
        <p:spPr>
          <a:xfrm>
            <a:off x="408960" y="4833360"/>
            <a:ext cx="302184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Development, Integration, </a:t>
            </a: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test &amp; validation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15" name="PlaceHolder 10"/>
          <p:cNvSpPr>
            <a:spLocks noGrp="1"/>
          </p:cNvSpPr>
          <p:nvPr>
            <p:ph/>
          </p:nvPr>
        </p:nvSpPr>
        <p:spPr>
          <a:xfrm>
            <a:off x="3575880" y="4114800"/>
            <a:ext cx="3960000" cy="2175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Languages:</a:t>
            </a:r>
            <a:r>
              <a:rPr b="0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C++, Qt, Ada, Python, bash script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Tools :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Doxygen, docker, Virtual Machine, QAC, cppcheck, Valgrid,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gdb, MS Project, ...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Coding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 </a:t>
            </a: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Standards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: Object Oriented Development, MISRA-C...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Configuration Management: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cmake, git subversion, Jira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Requirement Management:</a:t>
            </a:r>
            <a:r>
              <a:rPr b="0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DOORS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Design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: Real Time System, MBSE, UML, Argo UML, Enterprise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Architect, coding / decoding mdf4 files, CAN, LIN...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Operating system: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Linux (native or virtual machine), low level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interface (usb, wifi)</a:t>
            </a:r>
            <a:endParaRPr b="0" lang="en-US" sz="1050" spc="-1" strike="noStrike">
              <a:latin typeface="Arial"/>
            </a:endParaRPr>
          </a:p>
        </p:txBody>
      </p:sp>
      <p:sp>
        <p:nvSpPr>
          <p:cNvPr id="116" name="PlaceHolder 11"/>
          <p:cNvSpPr>
            <a:spLocks noGrp="1"/>
          </p:cNvSpPr>
          <p:nvPr>
            <p:ph/>
          </p:nvPr>
        </p:nvSpPr>
        <p:spPr>
          <a:xfrm>
            <a:off x="7747920" y="930960"/>
            <a:ext cx="4171320" cy="53920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lvl="1" marL="232920" indent="-228600">
              <a:lnSpc>
                <a:spcPct val="100000"/>
              </a:lnSpc>
              <a:spcBef>
                <a:spcPts val="601"/>
              </a:spcBef>
              <a:buClr>
                <a:srgbClr val="0070ad"/>
              </a:buClr>
              <a:buFont typeface="Wingdings" charset="2"/>
              <a:buChar char=""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spcBef>
                <a:spcPts val="1417"/>
              </a:spcBef>
              <a:buNone/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Data Analyst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Automotiv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Updating MagicDraw Diagrams with new requirements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Virtual Machine, MagicDraw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check and draw the connection between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components</a:t>
            </a:r>
            <a:endParaRPr b="0" lang="en-US" sz="950" spc="-1" strike="noStrike">
              <a:latin typeface="Arial"/>
            </a:endParaRPr>
          </a:p>
          <a:p>
            <a:pPr>
              <a:lnSpc>
                <a:spcPct val="100000"/>
              </a:lnSpc>
              <a:spcBef>
                <a:spcPts val="1417"/>
              </a:spcBef>
              <a:buNone/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quirement Analys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Automotiv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arrying out checks of the requirements and their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terconnection in the V-cycle 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MATLAB, Simulink, Codebeam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etection of several logical or syntactic errors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nalyse and Documentation of a un-documented library (part of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CV-L Software)</a:t>
            </a: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isk Manag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Truck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isk Analysis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FMEA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 complete analyses was delivered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.</a:t>
            </a: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Architect / Lead Software Develop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latin typeface="Verdana"/>
                <a:ea typeface="Verdana"/>
              </a:rPr>
              <a:t>Automotive supplier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reation of MDF4 reader and interpreter software.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++, CAN, LIN, binaries analysis, Object Oriented, Linux,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Valgrind, mdf4 files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 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oftware Architecture : multiple executable with a common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library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Quality Management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Performance Improvement (Memory leaks, optimisation)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Software development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	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	</a:t>
            </a:r>
            <a:endParaRPr b="0" lang="en-US" sz="1000" spc="-1" strike="noStrike">
              <a:latin typeface="Arial"/>
            </a:endParaRPr>
          </a:p>
        </p:txBody>
      </p:sp>
      <p:graphicFrame>
        <p:nvGraphicFramePr>
          <p:cNvPr id="117" name="Table 28"/>
          <p:cNvGraphicFramePr/>
          <p:nvPr/>
        </p:nvGraphicFramePr>
        <p:xfrm>
          <a:off x="3527640" y="1402560"/>
          <a:ext cx="4033800" cy="1189800"/>
        </p:xfrm>
        <a:graphic>
          <a:graphicData uri="http://schemas.openxmlformats.org/drawingml/2006/table">
            <a:tbl>
              <a:tblPr/>
              <a:tblGrid>
                <a:gridCol w="1113840"/>
                <a:gridCol w="2920320"/>
              </a:tblGrid>
              <a:tr h="22896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Verdana"/>
                        </a:rPr>
                        <a:t>Since 1999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2240">
                      <a:noFill/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spcAft>
                          <a:spcPts val="99"/>
                        </a:spcAft>
                        <a:buNone/>
                      </a:pPr>
                      <a:r>
                        <a:rPr b="0" lang="en-GB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Altran , Consultant (France, Bekgium, UK, Germany...)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2240">
                      <a:noFill/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</a:tr>
              <a:tr h="22896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90000"/>
                        </a:lnSpc>
                        <a:spcAft>
                          <a:spcPts val="99"/>
                        </a:spcAft>
                        <a:buNone/>
                        <a:tabLst>
                          <a:tab algn="l" pos="0"/>
                        </a:tabLst>
                      </a:pPr>
                      <a:r>
                        <a:rPr b="0" lang="en-GB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1994 - 1999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  <a:tabLst>
                          <a:tab algn="l" pos="0"/>
                        </a:tabLst>
                      </a:pPr>
                      <a:r>
                        <a:rPr b="0" lang="fr-FR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SDI, (Paris) Consultant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</a:tr>
              <a:tr h="22896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  <a:tabLst>
                          <a:tab algn="l" pos="0"/>
                        </a:tabLst>
                      </a:pP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1993 - 1994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spcAft>
                          <a:spcPts val="99"/>
                        </a:spcAft>
                        <a:buNone/>
                        <a:tabLst>
                          <a:tab algn="l" pos="0"/>
                        </a:tabLst>
                      </a:pP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DCN Paris, Nuclear Safety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</a:tr>
              <a:tr h="50328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1991 - 1993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 algn="just">
                        <a:lnSpc>
                          <a:spcPct val="100000"/>
                        </a:lnSpc>
                        <a:buNone/>
                      </a:pP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Graduated (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Times New Roman"/>
                          <a:ea typeface="DejaVu Sans"/>
                        </a:rPr>
                        <a:t>Diplôme d’Ingénieur, the French </a:t>
                      </a:r>
                      <a:r>
                        <a:rPr b="0" lang="de-DE" sz="900" spc="-1" strike="noStrike" u="sng">
                          <a:solidFill>
                            <a:srgbClr val="000000"/>
                          </a:solidFill>
                          <a:uFillTx/>
                          <a:latin typeface="Times New Roman"/>
                          <a:ea typeface="DejaVu Sans"/>
                        </a:rPr>
                        <a:t>Master’s degree in Engineering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Times New Roman"/>
                          <a:ea typeface="DejaVu Sans"/>
                        </a:rPr>
                        <a:t>) 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from 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Times New Roman"/>
                          <a:ea typeface="DejaVu Sans"/>
                        </a:rPr>
                        <a:t>ENSTA ParisTech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, 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Times New Roman"/>
                          <a:ea typeface="DejaVu Sans"/>
                        </a:rPr>
                        <a:t>École Nationale Supérieure de Techniques Avancée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8" name="TextBox 22"/>
          <p:cNvSpPr/>
          <p:nvPr/>
        </p:nvSpPr>
        <p:spPr>
          <a:xfrm>
            <a:off x="44640" y="6503040"/>
            <a:ext cx="5830200" cy="333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This document contains personal data to a not inconsiderable extent. It shall be used in accordance with the </a:t>
            </a:r>
            <a:endParaRPr b="0" lang="en-US" sz="8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need-to-know principle and only for the agreed purpose, after which deletion shall be considered immediately.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119" name="Text Placeholder 1"/>
          <p:cNvSpPr/>
          <p:nvPr/>
        </p:nvSpPr>
        <p:spPr>
          <a:xfrm>
            <a:off x="3584160" y="2971800"/>
            <a:ext cx="3959280" cy="1097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200" spc="-1" strike="noStrike">
                <a:solidFill>
                  <a:srgbClr val="0070ad"/>
                </a:solidFill>
                <a:latin typeface="Calibri"/>
                <a:ea typeface="Noto Sans CJK SC"/>
              </a:rPr>
              <a:t>As a software architect working in the field of embedded systems (</a:t>
            </a:r>
            <a:r>
              <a:rPr b="0" lang="en-US" sz="1200" spc="-1" strike="noStrike">
                <a:solidFill>
                  <a:srgbClr val="0070ad"/>
                </a:solidFill>
                <a:latin typeface="Calibri"/>
                <a:ea typeface="DejaVu Sans"/>
              </a:rPr>
              <a:t>medical equipment, car, train, plane, satellite, ...) for more than 20 years, I am enthusiastic about designing, developing, testing and maintaining high quality complex systems. With new requirements</a:t>
            </a:r>
            <a:endParaRPr b="0" lang="en-US" sz="12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Text Placeholder 5"/>
          <p:cNvSpPr/>
          <p:nvPr/>
        </p:nvSpPr>
        <p:spPr>
          <a:xfrm>
            <a:off x="7604640" y="914400"/>
            <a:ext cx="4219920" cy="548640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21" name="PlaceHolder 1"/>
          <p:cNvSpPr>
            <a:spLocks noGrp="1"/>
          </p:cNvSpPr>
          <p:nvPr>
            <p:ph/>
          </p:nvPr>
        </p:nvSpPr>
        <p:spPr>
          <a:xfrm>
            <a:off x="3429000" y="313200"/>
            <a:ext cx="4175640" cy="411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US" sz="1400" spc="-1" strike="noStrike">
                <a:solidFill>
                  <a:srgbClr val="12abdb"/>
                </a:solidFill>
                <a:latin typeface="Verdana"/>
              </a:rPr>
              <a:t>Experience (2/4)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22" name="PlaceHolder 2"/>
          <p:cNvSpPr>
            <a:spLocks noGrp="1"/>
          </p:cNvSpPr>
          <p:nvPr>
            <p:ph/>
          </p:nvPr>
        </p:nvSpPr>
        <p:spPr>
          <a:xfrm>
            <a:off x="407880" y="5580720"/>
            <a:ext cx="3022920" cy="331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Languag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23" name="PlaceHolder 3"/>
          <p:cNvSpPr>
            <a:spLocks noGrp="1"/>
          </p:cNvSpPr>
          <p:nvPr>
            <p:ph/>
          </p:nvPr>
        </p:nvSpPr>
        <p:spPr>
          <a:xfrm>
            <a:off x="407880" y="3601800"/>
            <a:ext cx="3022920" cy="411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marL="228600" indent="-227520">
              <a:lnSpc>
                <a:spcPct val="9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1" lang="en-US" sz="2000" spc="-1" strike="noStrike">
                <a:solidFill>
                  <a:srgbClr val="ffffff"/>
                </a:solidFill>
                <a:latin typeface="Calibri"/>
                <a:ea typeface="DejaVu Sans"/>
              </a:rPr>
              <a:t>Grosjean Nicolas</a:t>
            </a:r>
            <a:endParaRPr b="0" lang="en-US" sz="2000" spc="-1" strike="noStrike">
              <a:latin typeface="Arial"/>
            </a:endParaRPr>
          </a:p>
        </p:txBody>
      </p:sp>
      <p:sp>
        <p:nvSpPr>
          <p:cNvPr id="124" name="PlaceHolder 4"/>
          <p:cNvSpPr>
            <a:spLocks noGrp="1"/>
          </p:cNvSpPr>
          <p:nvPr>
            <p:ph/>
          </p:nvPr>
        </p:nvSpPr>
        <p:spPr>
          <a:xfrm>
            <a:off x="407880" y="4038120"/>
            <a:ext cx="302292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Architect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25" name="PlaceHolder 5"/>
          <p:cNvSpPr>
            <a:spLocks noGrp="1"/>
          </p:cNvSpPr>
          <p:nvPr>
            <p:ph/>
          </p:nvPr>
        </p:nvSpPr>
        <p:spPr>
          <a:xfrm>
            <a:off x="407880" y="5913360"/>
            <a:ext cx="302292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200" spc="-1" strike="noStrike">
                <a:solidFill>
                  <a:srgbClr val="ffffff"/>
                </a:solidFill>
                <a:latin typeface="Calibri"/>
                <a:ea typeface="DejaVu Sans"/>
              </a:rPr>
              <a:t>French(native), English (fluent), German(B2)</a:t>
            </a:r>
            <a:endParaRPr b="0" lang="en-US" sz="1200" spc="-1" strike="noStrike">
              <a:latin typeface="Arial"/>
            </a:endParaRPr>
          </a:p>
        </p:txBody>
      </p:sp>
      <p:sp>
        <p:nvSpPr>
          <p:cNvPr id="126" name="PlaceHolder 6"/>
          <p:cNvSpPr>
            <a:spLocks noGrp="1"/>
          </p:cNvSpPr>
          <p:nvPr>
            <p:ph/>
          </p:nvPr>
        </p:nvSpPr>
        <p:spPr>
          <a:xfrm>
            <a:off x="407880" y="4484520"/>
            <a:ext cx="3022920" cy="331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Key Competenci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27" name="PlaceHolder 7"/>
          <p:cNvSpPr>
            <a:spLocks noGrp="1"/>
          </p:cNvSpPr>
          <p:nvPr>
            <p:ph/>
          </p:nvPr>
        </p:nvSpPr>
        <p:spPr>
          <a:xfrm>
            <a:off x="408960" y="4833360"/>
            <a:ext cx="302184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Development, Integration, </a:t>
            </a: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test &amp; validation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28" name="PlaceHolder 8"/>
          <p:cNvSpPr>
            <a:spLocks noGrp="1"/>
          </p:cNvSpPr>
          <p:nvPr>
            <p:ph/>
          </p:nvPr>
        </p:nvSpPr>
        <p:spPr>
          <a:xfrm>
            <a:off x="7707960" y="685800"/>
            <a:ext cx="4171320" cy="53920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lvl="1" marL="232920" indent="-228600">
              <a:lnSpc>
                <a:spcPct val="100000"/>
              </a:lnSpc>
              <a:spcBef>
                <a:spcPts val="601"/>
              </a:spcBef>
              <a:buClr>
                <a:srgbClr val="0070ad"/>
              </a:buClr>
              <a:buFont typeface="Wingdings" charset="2"/>
              <a:buChar char=""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Tester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Automotiv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 </a:t>
            </a:r>
            <a:r>
              <a:rPr b="0" lang="en-US" sz="950" spc="-1" strike="noStrike">
                <a:latin typeface="Verdana"/>
                <a:ea typeface="Verdana"/>
              </a:rPr>
              <a:t>A Software with poor quality should be </a:t>
            </a:r>
            <a:r>
              <a:rPr b="0" lang="en-US" sz="950" spc="-1" strike="noStrike">
                <a:latin typeface="Verdana"/>
                <a:ea typeface="Verdana"/>
              </a:rPr>
              <a:t>tested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c++, cmake, gdb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Make drastic choice about the tools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est implementation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Test Coverage management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Bug Management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Bug, test and requirement Documentation,</a:t>
            </a:r>
            <a:endParaRPr b="0" lang="en-US" sz="95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Test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Automotiv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From objects positions, this software </a:t>
            </a:r>
            <a:r>
              <a:rPr b="0" lang="en-US" sz="1000" spc="-1" strike="noStrike">
                <a:latin typeface="Verdana"/>
                <a:ea typeface="Verdana"/>
              </a:rPr>
              <a:t>compute the objects trajectories. It should be </a:t>
            </a:r>
            <a:r>
              <a:rPr b="0" lang="en-US" sz="1000" spc="-1" strike="noStrike">
                <a:latin typeface="Verdana"/>
                <a:ea typeface="Verdana"/>
              </a:rPr>
              <a:t>tested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OORS, gdb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heck of requirements (incomplete or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ontradictory)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est plan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Test report</a:t>
            </a: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oftware Integrato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Automotiv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Integration of incompatible librarie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++, QAC, gvim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tegration of BMW library with Bosh Software.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he Interface were incompatible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very short delay (deadline has already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assed!)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Report error and bug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Interface adaptation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Unit and Integration Test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Interface with supplier.</a:t>
            </a:r>
            <a:endParaRPr b="0" lang="en-US" sz="1000" spc="-1" strike="noStrike">
              <a:latin typeface="Arial"/>
            </a:endParaRPr>
          </a:p>
          <a:p>
            <a:endParaRPr b="0" lang="en-US" sz="1000" spc="-1" strike="noStrike">
              <a:latin typeface="Arial"/>
            </a:endParaRPr>
          </a:p>
        </p:txBody>
      </p:sp>
      <p:sp>
        <p:nvSpPr>
          <p:cNvPr id="129" name="TextBox 2"/>
          <p:cNvSpPr/>
          <p:nvPr/>
        </p:nvSpPr>
        <p:spPr>
          <a:xfrm>
            <a:off x="44640" y="6503040"/>
            <a:ext cx="5830200" cy="333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This document contains personal data to a not inconsiderable extent. It shall be used in accordance with the </a:t>
            </a:r>
            <a:endParaRPr b="0" lang="en-US" sz="8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need-to-know principle and only for the agreed purpose, after which deletion shall be considered immediately.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130" name="Text Placeholder 3"/>
          <p:cNvSpPr/>
          <p:nvPr/>
        </p:nvSpPr>
        <p:spPr>
          <a:xfrm>
            <a:off x="3323880" y="914400"/>
            <a:ext cx="4280760" cy="548640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31" name="PlaceHolder 15"/>
          <p:cNvSpPr txBox="1"/>
          <p:nvPr/>
        </p:nvSpPr>
        <p:spPr>
          <a:xfrm>
            <a:off x="3433320" y="685800"/>
            <a:ext cx="4171320" cy="5113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lvl="1" marL="232920" indent="-228600">
              <a:lnSpc>
                <a:spcPct val="100000"/>
              </a:lnSpc>
              <a:spcBef>
                <a:spcPts val="601"/>
              </a:spcBef>
              <a:buClr>
                <a:srgbClr val="0070ad"/>
              </a:buClr>
              <a:buFont typeface="Wingdings" charset="2"/>
              <a:buChar char=""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950" spc="-1" strike="noStrike">
                <a:latin typeface="Verdana"/>
                <a:ea typeface="Verdana"/>
              </a:rPr>
              <a:t>Lead Software Engineer, Software </a:t>
            </a:r>
            <a:r>
              <a:rPr b="0" lang="en-US" sz="950" spc="-1" strike="noStrike">
                <a:latin typeface="Verdana"/>
                <a:ea typeface="Verdana"/>
              </a:rPr>
              <a:t>Management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Automotiv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Updating </a:t>
            </a:r>
            <a:r>
              <a:rPr b="0" lang="en-US" sz="950" spc="-1" strike="noStrike">
                <a:latin typeface="Verdana"/>
                <a:ea typeface="Verdana"/>
              </a:rPr>
              <a:t>driving simulation softwar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CMake, bash script, Gvim, Linux, Makefile 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Design and complete update of the build and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software dependency management tool (&gt;400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Makefile converted to cmake)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Development of new functionality related to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he synchronization of sound, image and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vibration</a:t>
            </a:r>
            <a:endParaRPr b="0" lang="en-US" sz="95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Automotiv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utomotive suppliers –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fotainment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Softwar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latin typeface="Verdana"/>
                <a:ea typeface="Verdana"/>
              </a:rPr>
              <a:t>libusb, c++, wifi, coding and decoding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Module Requirement, coding and testing (usb /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wifi)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reate USB bus simulator (libusb, UDisk2)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Manage BMW CommAPI Interface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Teaching to the team the art of testing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Test Implementation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oding and Decoding Wifi messages (apple,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miramax...)</a:t>
            </a: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Architec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utomotiv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Camera system to replace mirror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Entreprise Architect, c++, cmake, gdb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efine the software architecture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efine the milestones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Manage the requirement in a R&amp;D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environment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heck the software quality (5 people)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oding and Testing the module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Bug Management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Documentation.</a:t>
            </a:r>
            <a:endParaRPr b="0" lang="en-US" sz="10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2"/>
          <p:cNvSpPr/>
          <p:nvPr/>
        </p:nvSpPr>
        <p:spPr>
          <a:xfrm>
            <a:off x="7543800" y="685800"/>
            <a:ext cx="4384080" cy="581724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33" name="PlaceHolder 1"/>
          <p:cNvSpPr>
            <a:spLocks noGrp="1"/>
          </p:cNvSpPr>
          <p:nvPr>
            <p:ph/>
          </p:nvPr>
        </p:nvSpPr>
        <p:spPr>
          <a:xfrm>
            <a:off x="3429000" y="310320"/>
            <a:ext cx="4175640" cy="411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US" sz="1400" spc="-1" strike="noStrike">
                <a:solidFill>
                  <a:srgbClr val="12abdb"/>
                </a:solidFill>
                <a:latin typeface="Verdana"/>
              </a:rPr>
              <a:t>Experience (3/4)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34" name="PlaceHolder 2"/>
          <p:cNvSpPr>
            <a:spLocks noGrp="1"/>
          </p:cNvSpPr>
          <p:nvPr>
            <p:ph/>
          </p:nvPr>
        </p:nvSpPr>
        <p:spPr>
          <a:xfrm>
            <a:off x="407880" y="5580720"/>
            <a:ext cx="3022920" cy="331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Languag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35" name="PlaceHolder 3"/>
          <p:cNvSpPr>
            <a:spLocks noGrp="1"/>
          </p:cNvSpPr>
          <p:nvPr>
            <p:ph/>
          </p:nvPr>
        </p:nvSpPr>
        <p:spPr>
          <a:xfrm>
            <a:off x="407880" y="3601800"/>
            <a:ext cx="3022920" cy="411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marL="228600" indent="-227520">
              <a:lnSpc>
                <a:spcPct val="9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1" lang="en-US" sz="2000" spc="-1" strike="noStrike">
                <a:solidFill>
                  <a:srgbClr val="ffffff"/>
                </a:solidFill>
                <a:latin typeface="Calibri"/>
                <a:ea typeface="DejaVu Sans"/>
              </a:rPr>
              <a:t>Grosjean Nicolas</a:t>
            </a:r>
            <a:endParaRPr b="0" lang="en-US" sz="2000" spc="-1" strike="noStrike">
              <a:latin typeface="Arial"/>
            </a:endParaRPr>
          </a:p>
        </p:txBody>
      </p:sp>
      <p:sp>
        <p:nvSpPr>
          <p:cNvPr id="136" name="PlaceHolder 4"/>
          <p:cNvSpPr>
            <a:spLocks noGrp="1"/>
          </p:cNvSpPr>
          <p:nvPr>
            <p:ph/>
          </p:nvPr>
        </p:nvSpPr>
        <p:spPr>
          <a:xfrm>
            <a:off x="407880" y="4038120"/>
            <a:ext cx="302292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Architect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37" name="PlaceHolder 5"/>
          <p:cNvSpPr>
            <a:spLocks noGrp="1"/>
          </p:cNvSpPr>
          <p:nvPr>
            <p:ph/>
          </p:nvPr>
        </p:nvSpPr>
        <p:spPr>
          <a:xfrm>
            <a:off x="407880" y="5913360"/>
            <a:ext cx="302292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200" spc="-1" strike="noStrike">
                <a:solidFill>
                  <a:srgbClr val="ffffff"/>
                </a:solidFill>
                <a:latin typeface="Calibri"/>
                <a:ea typeface="DejaVu Sans"/>
              </a:rPr>
              <a:t>French(native), English (fluent), German(B2)</a:t>
            </a:r>
            <a:endParaRPr b="0" lang="en-US" sz="1200" spc="-1" strike="noStrike">
              <a:latin typeface="Arial"/>
            </a:endParaRPr>
          </a:p>
        </p:txBody>
      </p:sp>
      <p:sp>
        <p:nvSpPr>
          <p:cNvPr id="138" name="PlaceHolder 6"/>
          <p:cNvSpPr>
            <a:spLocks noGrp="1"/>
          </p:cNvSpPr>
          <p:nvPr>
            <p:ph/>
          </p:nvPr>
        </p:nvSpPr>
        <p:spPr>
          <a:xfrm>
            <a:off x="407880" y="4484520"/>
            <a:ext cx="3022920" cy="331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Key Competenci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39" name="PlaceHolder 7"/>
          <p:cNvSpPr>
            <a:spLocks noGrp="1"/>
          </p:cNvSpPr>
          <p:nvPr>
            <p:ph/>
          </p:nvPr>
        </p:nvSpPr>
        <p:spPr>
          <a:xfrm>
            <a:off x="408960" y="4833360"/>
            <a:ext cx="302184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Development, Integration, test &amp; validation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40" name="PlaceHolder 8"/>
          <p:cNvSpPr>
            <a:spLocks noGrp="1"/>
          </p:cNvSpPr>
          <p:nvPr>
            <p:ph/>
          </p:nvPr>
        </p:nvSpPr>
        <p:spPr>
          <a:xfrm>
            <a:off x="7714080" y="551520"/>
            <a:ext cx="4171320" cy="53920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lvl="1" marL="232920" indent="-228600">
              <a:lnSpc>
                <a:spcPct val="100000"/>
              </a:lnSpc>
              <a:spcBef>
                <a:spcPts val="601"/>
              </a:spcBef>
              <a:buClr>
                <a:srgbClr val="0070ad"/>
              </a:buClr>
              <a:buFont typeface="Wingdings" charset="2"/>
              <a:buChar char=""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Architect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ailroad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P Train NAT (Nouvelle Automotrice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ransilien/Spacium 3.06)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Embedded Linux, C++, Qt.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100" spc="-1" strike="noStrike">
                <a:solidFill>
                  <a:srgbClr val="595959"/>
                </a:solidFill>
                <a:latin typeface="Arial"/>
                <a:ea typeface="Verdana"/>
              </a:rPr>
              <a:t>T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eam coordinator for the development of the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NAT HMI software embedded in trains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Software design, coordination of several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software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Integrator for IHM Version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Maintenance of linux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PPC hardware validation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Creation of a cooperative wiki on a server, in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order to centralize the team knowledge.</a:t>
            </a:r>
            <a:endParaRPr b="0" lang="en-US" sz="95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ailroad UK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“Virgin Train” class consists in a new </a:t>
            </a:r>
            <a:r>
              <a:rPr b="0" lang="en-US" sz="1000" spc="-1" strike="noStrike">
                <a:latin typeface="Verdana"/>
                <a:ea typeface="Verdana"/>
              </a:rPr>
              <a:t>generation of trains in United Kingdom, and will </a:t>
            </a:r>
            <a:r>
              <a:rPr b="0" lang="en-US" sz="1000" spc="-1" strike="noStrike">
                <a:latin typeface="Verdana"/>
                <a:ea typeface="Verdana"/>
              </a:rPr>
              <a:t>be quite a big step for the embedded software in </a:t>
            </a:r>
            <a:r>
              <a:rPr b="0" lang="en-US" sz="1000" spc="-1" strike="noStrike">
                <a:latin typeface="Verdana"/>
                <a:ea typeface="Verdana"/>
              </a:rPr>
              <a:t>general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latin typeface="Verdana"/>
                <a:ea typeface="Verdana"/>
              </a:rPr>
              <a:t>Embedded Windows CE, C++, MFC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esign, development and tests of a HMI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oftware embedded in trains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HMI software development and integration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Supplier technical interface (PEP / Kontron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Belgium).</a:t>
            </a: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oftware Develop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Aircraf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In the realm of air control, Thomson </a:t>
            </a:r>
            <a:r>
              <a:rPr b="0" lang="en-US" sz="1000" spc="-1" strike="noStrike">
                <a:latin typeface="Verdana"/>
                <a:ea typeface="Verdana"/>
              </a:rPr>
              <a:t>upgraded its software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++, QAC, gvim, ASTERIX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esign, development and tests of software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Programming of the coding / decoding layer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within flexible software.</a:t>
            </a:r>
            <a:endParaRPr b="0" lang="en-US" sz="1000" spc="-1" strike="noStrike">
              <a:latin typeface="Arial"/>
            </a:endParaRPr>
          </a:p>
          <a:p>
            <a:endParaRPr b="0" lang="en-US" sz="1000" spc="-1" strike="noStrike">
              <a:latin typeface="Arial"/>
            </a:endParaRPr>
          </a:p>
        </p:txBody>
      </p:sp>
      <p:sp>
        <p:nvSpPr>
          <p:cNvPr id="141" name="TextBox 3"/>
          <p:cNvSpPr/>
          <p:nvPr/>
        </p:nvSpPr>
        <p:spPr>
          <a:xfrm>
            <a:off x="44640" y="6503040"/>
            <a:ext cx="5830200" cy="333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This document contains personal data to a not inconsiderable extent. It shall be used in accordance with the </a:t>
            </a:r>
            <a:endParaRPr b="0" lang="en-US" sz="8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need-to-know principle and only for the agreed purpose, after which deletion shall be considered immediately.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142" name="Text Placeholder 4"/>
          <p:cNvSpPr/>
          <p:nvPr/>
        </p:nvSpPr>
        <p:spPr>
          <a:xfrm>
            <a:off x="3200400" y="685800"/>
            <a:ext cx="4343400" cy="581724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43" name="PlaceHolder 29"/>
          <p:cNvSpPr txBox="1"/>
          <p:nvPr/>
        </p:nvSpPr>
        <p:spPr>
          <a:xfrm>
            <a:off x="3372480" y="390240"/>
            <a:ext cx="4171320" cy="5113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lvl="1" marL="232920" indent="-228600">
              <a:lnSpc>
                <a:spcPct val="100000"/>
              </a:lnSpc>
              <a:spcBef>
                <a:spcPts val="601"/>
              </a:spcBef>
              <a:buClr>
                <a:srgbClr val="0070ad"/>
              </a:buClr>
              <a:buFont typeface="Wingdings" charset="2"/>
              <a:buChar char=""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Architect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Automotiv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 </a:t>
            </a:r>
            <a:r>
              <a:rPr b="0" lang="en-US" sz="950" spc="-1" strike="noStrike">
                <a:latin typeface="Verdana"/>
                <a:ea typeface="Verdana"/>
              </a:rPr>
              <a:t>3d Top View System Software manage </a:t>
            </a:r>
            <a:r>
              <a:rPr b="0" lang="en-US" sz="950" spc="-1" strike="noStrike">
                <a:latin typeface="Verdana"/>
                <a:ea typeface="Verdana"/>
              </a:rPr>
              <a:t>the vehicle surroundings : a virtual camera </a:t>
            </a:r>
            <a:r>
              <a:rPr b="0" lang="en-US" sz="950" spc="-1" strike="noStrike">
                <a:latin typeface="Verdana"/>
                <a:ea typeface="Verdana"/>
              </a:rPr>
              <a:t>displays the car itself and the surroundings, </a:t>
            </a:r>
            <a:r>
              <a:rPr b="0" lang="en-US" sz="950" spc="-1" strike="noStrike">
                <a:latin typeface="Verdana"/>
                <a:ea typeface="Verdana"/>
              </a:rPr>
              <a:t>helping the drivers to avoid obstacle (Driving </a:t>
            </a:r>
            <a:r>
              <a:rPr b="0" lang="en-US" sz="950" spc="-1" strike="noStrike">
                <a:latin typeface="Verdana"/>
                <a:ea typeface="Verdana"/>
              </a:rPr>
              <a:t>Assistance System)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Entreprise Architect, C++, CAN, Linux,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Windows.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Software architect for the embedded software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(model view architectural pattern)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CAN (Controller Area Network) library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Development Multi Platform software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Improving software quality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Team support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Improving team communication (web site)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Maintenance of Linux system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Test-oriented development.</a:t>
            </a:r>
            <a:endParaRPr b="0" lang="en-US" sz="95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ailroad UK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Long term support for this embedded </a:t>
            </a:r>
            <a:r>
              <a:rPr b="0" lang="en-US" sz="1000" spc="-1" strike="noStrike">
                <a:latin typeface="Verdana"/>
                <a:ea typeface="Verdana"/>
              </a:rPr>
              <a:t>software (&gt;10 years)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latin typeface="Verdana"/>
                <a:ea typeface="Verdana"/>
              </a:rPr>
              <a:t>C++, Embedded Windows CE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Update and Support on location</a:t>
            </a: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Architec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Medical device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N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ew generation of high tech medical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strumen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++, Qt, QtEmu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oftware architect for the embedded software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(model view architectural pattern)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tate machine conception and development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onception and development of several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functionalities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ode documentation with doxygen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Participation of wiki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Maintenance of linux system.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	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	</a:t>
            </a:r>
            <a:endParaRPr b="0" lang="en-US" sz="10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Text Placeholder 6"/>
          <p:cNvSpPr/>
          <p:nvPr/>
        </p:nvSpPr>
        <p:spPr>
          <a:xfrm>
            <a:off x="7543800" y="685800"/>
            <a:ext cx="4384080" cy="581724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45" name="PlaceHolder 1"/>
          <p:cNvSpPr>
            <a:spLocks noGrp="1"/>
          </p:cNvSpPr>
          <p:nvPr>
            <p:ph/>
          </p:nvPr>
        </p:nvSpPr>
        <p:spPr>
          <a:xfrm>
            <a:off x="3429000" y="310320"/>
            <a:ext cx="4175640" cy="411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US" sz="1400" spc="-1" strike="noStrike">
                <a:solidFill>
                  <a:srgbClr val="12abdb"/>
                </a:solidFill>
                <a:latin typeface="Verdana"/>
              </a:rPr>
              <a:t>Experience (4/4)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46" name="PlaceHolder 2"/>
          <p:cNvSpPr>
            <a:spLocks noGrp="1"/>
          </p:cNvSpPr>
          <p:nvPr>
            <p:ph/>
          </p:nvPr>
        </p:nvSpPr>
        <p:spPr>
          <a:xfrm>
            <a:off x="407880" y="5580720"/>
            <a:ext cx="3022920" cy="331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Languag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47" name="PlaceHolder 3"/>
          <p:cNvSpPr>
            <a:spLocks noGrp="1"/>
          </p:cNvSpPr>
          <p:nvPr>
            <p:ph/>
          </p:nvPr>
        </p:nvSpPr>
        <p:spPr>
          <a:xfrm>
            <a:off x="407880" y="3601800"/>
            <a:ext cx="3022920" cy="411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marL="228600" indent="-227520">
              <a:lnSpc>
                <a:spcPct val="9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1" lang="en-US" sz="2000" spc="-1" strike="noStrike">
                <a:solidFill>
                  <a:srgbClr val="ffffff"/>
                </a:solidFill>
                <a:latin typeface="Calibri"/>
                <a:ea typeface="DejaVu Sans"/>
              </a:rPr>
              <a:t>Grosjean Nicolas</a:t>
            </a:r>
            <a:endParaRPr b="0" lang="en-US" sz="2000" spc="-1" strike="noStrike">
              <a:latin typeface="Arial"/>
            </a:endParaRPr>
          </a:p>
        </p:txBody>
      </p:sp>
      <p:sp>
        <p:nvSpPr>
          <p:cNvPr id="148" name="PlaceHolder 4"/>
          <p:cNvSpPr>
            <a:spLocks noGrp="1"/>
          </p:cNvSpPr>
          <p:nvPr>
            <p:ph/>
          </p:nvPr>
        </p:nvSpPr>
        <p:spPr>
          <a:xfrm>
            <a:off x="407880" y="4038120"/>
            <a:ext cx="302292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Architect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49" name="PlaceHolder 5"/>
          <p:cNvSpPr>
            <a:spLocks noGrp="1"/>
          </p:cNvSpPr>
          <p:nvPr>
            <p:ph/>
          </p:nvPr>
        </p:nvSpPr>
        <p:spPr>
          <a:xfrm>
            <a:off x="407880" y="5913360"/>
            <a:ext cx="302292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200" spc="-1" strike="noStrike">
                <a:solidFill>
                  <a:srgbClr val="ffffff"/>
                </a:solidFill>
                <a:latin typeface="Calibri"/>
                <a:ea typeface="DejaVu Sans"/>
              </a:rPr>
              <a:t>French(native), English (fluent), German(B2)</a:t>
            </a:r>
            <a:endParaRPr b="0" lang="en-US" sz="1200" spc="-1" strike="noStrike">
              <a:latin typeface="Arial"/>
            </a:endParaRPr>
          </a:p>
        </p:txBody>
      </p:sp>
      <p:sp>
        <p:nvSpPr>
          <p:cNvPr id="150" name="PlaceHolder 6"/>
          <p:cNvSpPr>
            <a:spLocks noGrp="1"/>
          </p:cNvSpPr>
          <p:nvPr>
            <p:ph/>
          </p:nvPr>
        </p:nvSpPr>
        <p:spPr>
          <a:xfrm>
            <a:off x="407880" y="4484520"/>
            <a:ext cx="3022920" cy="331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Key Competenci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51" name="PlaceHolder 7"/>
          <p:cNvSpPr>
            <a:spLocks noGrp="1"/>
          </p:cNvSpPr>
          <p:nvPr>
            <p:ph/>
          </p:nvPr>
        </p:nvSpPr>
        <p:spPr>
          <a:xfrm>
            <a:off x="408960" y="4833360"/>
            <a:ext cx="3021840" cy="53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Development, Integration, </a:t>
            </a: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test &amp; validation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52" name="PlaceHolder 8"/>
          <p:cNvSpPr>
            <a:spLocks noGrp="1"/>
          </p:cNvSpPr>
          <p:nvPr>
            <p:ph/>
          </p:nvPr>
        </p:nvSpPr>
        <p:spPr>
          <a:xfrm>
            <a:off x="7714080" y="551520"/>
            <a:ext cx="4171320" cy="53920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lvl="1" marL="232920" indent="-228600">
              <a:lnSpc>
                <a:spcPct val="100000"/>
              </a:lnSpc>
              <a:spcBef>
                <a:spcPts val="601"/>
              </a:spcBef>
              <a:buClr>
                <a:srgbClr val="0070ad"/>
              </a:buClr>
              <a:buFont typeface="Wingdings" charset="2"/>
              <a:buChar char=""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Project manager associat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ublic Sector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M</a:t>
            </a:r>
            <a:r>
              <a:rPr b="0" lang="en-US" sz="950" spc="-1" strike="noStrike">
                <a:latin typeface="Verdana"/>
                <a:ea typeface="Verdana"/>
              </a:rPr>
              <a:t>oving an headquarters, bringing 600 </a:t>
            </a:r>
            <a:r>
              <a:rPr b="0" lang="en-US" sz="950" spc="-1" strike="noStrike">
                <a:latin typeface="Verdana"/>
                <a:ea typeface="Verdana"/>
              </a:rPr>
              <a:t>new PCs at the new headquarters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MS Project, Windows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Management of the project under MS Project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(50 people, 300 tasks).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Safeguard, then migration of the data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Software standardization.</a:t>
            </a:r>
            <a:endParaRPr b="0" lang="en-US" sz="95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Analyst and Software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efense - Aircraf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Embedded software development for a </a:t>
            </a:r>
            <a:r>
              <a:rPr b="0" lang="en-US" sz="1000" spc="-1" strike="noStrike">
                <a:latin typeface="Verdana"/>
                <a:ea typeface="Verdana"/>
              </a:rPr>
              <a:t>French fighter, within a team of 50 engineers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Ada, Unix</a:t>
            </a:r>
            <a:r>
              <a:rPr b="0" lang="en-US" sz="1000" spc="-1" strike="noStrike">
                <a:latin typeface="Verdana"/>
                <a:ea typeface="Verdana"/>
              </a:rPr>
              <a:t>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Management of various data-processing tools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ccording to an object-oriented software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evelopment. The program exceeded one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million lines. </a:t>
            </a: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oftware Develop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1000" spc="-1" strike="noStrike">
                <a:latin typeface="Verdana"/>
                <a:ea typeface="Verdana"/>
              </a:rPr>
              <a:t>Nuclear Safety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Safety studies for the carrier the </a:t>
            </a:r>
            <a:r>
              <a:rPr b="0" lang="en-US" sz="1000" spc="-1" strike="noStrike">
                <a:latin typeface="Verdana"/>
                <a:ea typeface="Verdana"/>
              </a:rPr>
              <a:t>"Charles of Gaulle". Updating the file of the </a:t>
            </a:r>
            <a:r>
              <a:rPr b="0" lang="en-US" sz="1000" spc="-1" strike="noStrike">
                <a:latin typeface="Verdana"/>
                <a:ea typeface="Verdana"/>
              </a:rPr>
              <a:t>safety options concerning the services ensured </a:t>
            </a:r>
            <a:r>
              <a:rPr b="0" lang="en-US" sz="1000" spc="-1" strike="noStrike">
                <a:latin typeface="Verdana"/>
                <a:ea typeface="Verdana"/>
              </a:rPr>
              <a:t>by the ship to the two nuclear boilers.</a:t>
            </a:r>
            <a:endParaRPr b="0" lang="en-US" sz="1000" spc="-1" strike="noStrike">
              <a:latin typeface="Arial"/>
            </a:endParaRPr>
          </a:p>
          <a:p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cientific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1000" spc="-1" strike="noStrike">
                <a:latin typeface="Verdana"/>
                <a:ea typeface="Verdana"/>
              </a:rPr>
              <a:t>Research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Analysis and comparison of </a:t>
            </a:r>
            <a:r>
              <a:rPr b="0" i="1" lang="en-US" sz="900" spc="-1" strike="noStrike">
                <a:solidFill>
                  <a:srgbClr val="464669"/>
                </a:solidFill>
                <a:latin typeface="Arial"/>
                <a:ea typeface="Calibri"/>
              </a:rPr>
              <a:t>in situ</a:t>
            </a:r>
            <a:r>
              <a:rPr b="0" lang="en-US" sz="1000" spc="-1" strike="noStrike">
                <a:latin typeface="Verdana"/>
                <a:ea typeface="Verdana"/>
              </a:rPr>
              <a:t> data </a:t>
            </a:r>
            <a:r>
              <a:rPr b="0" lang="en-US" sz="1000" spc="-1" strike="noStrike">
                <a:latin typeface="Verdana"/>
                <a:ea typeface="Verdana"/>
              </a:rPr>
              <a:t>regarding the Tropical Atlantic's long waves, in </a:t>
            </a:r>
            <a:r>
              <a:rPr b="0" lang="en-US" sz="1000" spc="-1" strike="noStrike">
                <a:latin typeface="Verdana"/>
                <a:ea typeface="Verdana"/>
              </a:rPr>
              <a:t>accordance with a digital model of general </a:t>
            </a:r>
            <a:r>
              <a:rPr b="0" lang="en-US" sz="1000" spc="-1" strike="noStrike">
                <a:latin typeface="Verdana"/>
                <a:ea typeface="Verdana"/>
              </a:rPr>
              <a:t>oceanographic flowing, providing therefore a </a:t>
            </a:r>
            <a:r>
              <a:rPr b="0" lang="en-US" sz="1000" spc="-1" strike="noStrike">
                <a:latin typeface="Verdana"/>
                <a:ea typeface="Verdana"/>
              </a:rPr>
              <a:t>scientific expedition with fundamental source </a:t>
            </a:r>
            <a:r>
              <a:rPr b="0" lang="en-US" sz="1000" spc="-1" strike="noStrike">
                <a:latin typeface="Verdana"/>
                <a:ea typeface="Verdana"/>
              </a:rPr>
              <a:t>documents</a:t>
            </a:r>
            <a:r>
              <a:rPr b="0" lang="en-US" sz="1000" spc="-1" strike="noStrike">
                <a:latin typeface="Verdana"/>
                <a:ea typeface="Verdana"/>
              </a:rPr>
              <a:t>.</a:t>
            </a:r>
            <a:endParaRPr b="0" lang="en-US" sz="1000" spc="-1" strike="noStrike">
              <a:latin typeface="Arial"/>
            </a:endParaRPr>
          </a:p>
          <a:p>
            <a:endParaRPr b="0" lang="en-US" sz="1000" spc="-1" strike="noStrike">
              <a:latin typeface="Arial"/>
            </a:endParaRPr>
          </a:p>
        </p:txBody>
      </p:sp>
      <p:sp>
        <p:nvSpPr>
          <p:cNvPr id="153" name="TextBox 4"/>
          <p:cNvSpPr/>
          <p:nvPr/>
        </p:nvSpPr>
        <p:spPr>
          <a:xfrm>
            <a:off x="44640" y="6503040"/>
            <a:ext cx="5830200" cy="333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This document contains personal data to a not inconsiderable extent. It shall be used in accordance with the </a:t>
            </a:r>
            <a:endParaRPr b="0" lang="en-US" sz="8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need-to-know principle and only for the agreed purpose, after which deletion shall be considered immediately.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154" name="Text Placeholder 7"/>
          <p:cNvSpPr/>
          <p:nvPr/>
        </p:nvSpPr>
        <p:spPr>
          <a:xfrm>
            <a:off x="3200400" y="685800"/>
            <a:ext cx="4343400" cy="581724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55" name="PlaceHolder 44"/>
          <p:cNvSpPr txBox="1"/>
          <p:nvPr/>
        </p:nvSpPr>
        <p:spPr>
          <a:xfrm>
            <a:off x="3433320" y="372600"/>
            <a:ext cx="4171320" cy="6130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lvl="1" marL="232920" indent="-228600">
              <a:lnSpc>
                <a:spcPct val="100000"/>
              </a:lnSpc>
              <a:spcBef>
                <a:spcPts val="601"/>
              </a:spcBef>
              <a:buClr>
                <a:srgbClr val="0070ad"/>
              </a:buClr>
              <a:buFont typeface="Wingdings" charset="2"/>
              <a:buChar char=""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eveloper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ircraft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 </a:t>
            </a:r>
            <a:r>
              <a:rPr b="0" lang="en-US" sz="950" spc="-1" strike="noStrike">
                <a:latin typeface="Verdana"/>
                <a:ea typeface="Verdana"/>
              </a:rPr>
              <a:t>Development of a macro-generated software for the </a:t>
            </a:r>
            <a:r>
              <a:rPr b="0" lang="en-US" sz="950" spc="-1" strike="noStrike">
                <a:latin typeface="Verdana"/>
                <a:ea typeface="Verdana"/>
              </a:rPr>
              <a:t>management of air traffic (Management of several parallel </a:t>
            </a:r>
            <a:r>
              <a:rPr b="0" lang="en-US" sz="950" spc="-1" strike="noStrike">
                <a:latin typeface="Verdana"/>
                <a:ea typeface="Verdana"/>
              </a:rPr>
              <a:t>businesses), in order to cope with denser aircraft traffic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C++, Linux.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Development and tests of software.</a:t>
            </a:r>
            <a:endParaRPr b="0" lang="en-US" sz="95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pace</a:t>
            </a: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Correction of a embedded software</a:t>
            </a:r>
            <a:r>
              <a:rPr b="0" lang="en-US" sz="1000" spc="-1" strike="noStrike">
                <a:latin typeface="Verdana"/>
                <a:ea typeface="Verdana"/>
              </a:rPr>
              <a:t>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da, Assembleur</a:t>
            </a:r>
            <a:r>
              <a:rPr b="0" lang="en-US" sz="1000" spc="-1" strike="noStrike">
                <a:latin typeface="Verdana"/>
                <a:ea typeface="Verdana"/>
              </a:rPr>
              <a:t>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oftware workaround of a bugged hardware embedded on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atellite.</a:t>
            </a: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 manager associat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harmaceutical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Hoechst starts out-sourcing its internal IT suppor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Windows, Visual Basic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est of new Software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rafting of procedures for software installations, as well as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etting environments Windows (NT3.51, NT4.0, 95, 3.xx...) on PCs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onnected in network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Installation of the network LOTUS Notes for the whole company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reation of quality indicators for the hot line.</a:t>
            </a:r>
            <a:endParaRPr b="0" lang="en-US" sz="1000" spc="-1" strike="noStrike">
              <a:latin typeface="Arial"/>
            </a:endParaRPr>
          </a:p>
          <a:p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Financial data processing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Banking</a:t>
            </a: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S</a:t>
            </a:r>
            <a:r>
              <a:rPr b="0" lang="en-US" sz="1000" spc="-1" strike="noStrike">
                <a:latin typeface="Verdana"/>
                <a:ea typeface="Verdana"/>
              </a:rPr>
              <a:t>oftware upgrade</a:t>
            </a:r>
            <a:r>
              <a:rPr b="0" lang="en-US" sz="1000" spc="-1" strike="noStrike">
                <a:latin typeface="Verdana"/>
                <a:ea typeface="Verdana"/>
              </a:rPr>
              <a:t>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1000" spc="-1" strike="noStrike">
                <a:latin typeface="Verdana"/>
                <a:ea typeface="Verdana"/>
              </a:rPr>
              <a:t>MS Excel, Visual Basic</a:t>
            </a:r>
            <a:r>
              <a:rPr b="0" lang="en-US" sz="1000" spc="-1" strike="noStrike">
                <a:latin typeface="Verdana"/>
                <a:ea typeface="Verdana"/>
              </a:rPr>
              <a:t>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evelopment of financial software.</a:t>
            </a:r>
            <a:endParaRPr b="0" lang="en-US" sz="10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f999c"/>
      </a:accent6>
      <a:hlink>
        <a:srgbClr val="0070ad"/>
      </a:hlink>
      <a:folHlink>
        <a:srgbClr val="86086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f999c"/>
      </a:accent6>
      <a:hlink>
        <a:srgbClr val="0070ad"/>
      </a:hlink>
      <a:folHlink>
        <a:srgbClr val="86086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f999c"/>
      </a:accent6>
      <a:hlink>
        <a:srgbClr val="0070ad"/>
      </a:hlink>
      <a:folHlink>
        <a:srgbClr val="86086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customXml/_rels/item1.xml.rels><?xml version="1.0" encoding="UTF-8"?>
<Relationships xmlns="http://schemas.openxmlformats.org/package/2006/relationships"><Relationship Id="rId1" Type="http://schemas.openxmlformats.org/officeDocument/2006/relationships/customXmlProps" Target="itemProps1.xml"/>
</Relationships>
</file>

<file path=customXml/_rels/item2.xml.rels><?xml version="1.0" encoding="UTF-8"?>
<Relationships xmlns="http://schemas.openxmlformats.org/package/2006/relationships"><Relationship Id="rId1" Type="http://schemas.openxmlformats.org/officeDocument/2006/relationships/customXmlProps" Target="itemProps2.xml"/>
</Relationships>
</file>

<file path=customXml/_rels/item3.xml.rels><?xml version="1.0" encoding="UTF-8"?>
<Relationships xmlns="http://schemas.openxmlformats.org/package/2006/relationships"><Relationship Id="rId1" Type="http://schemas.openxmlformats.org/officeDocument/2006/relationships/customXmlProps" Target="itemProps3.xml"/>
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2AD7CCD9309A40A93237B95FD3CCF3" ma:contentTypeVersion="17" ma:contentTypeDescription="Create a new document." ma:contentTypeScope="" ma:versionID="d57a9f2bf89b7f43ec4b13fd8b52541b">
  <xsd:schema xmlns:xsd="http://www.w3.org/2001/XMLSchema" xmlns:xs="http://www.w3.org/2001/XMLSchema" xmlns:p="http://schemas.microsoft.com/office/2006/metadata/properties" xmlns:ns2="1054ac26-85d3-4a93-8ee6-8b53566d365e" xmlns:ns3="ee67b47f-9706-4343-8c14-d4b70a5ee703" targetNamespace="http://schemas.microsoft.com/office/2006/metadata/properties" ma:root="true" ma:fieldsID="68590f1bca15e7a91ff2aca4a16f2115" ns2:_="" ns3:_="">
    <xsd:import namespace="1054ac26-85d3-4a93-8ee6-8b53566d365e"/>
    <xsd:import namespace="ee67b47f-9706-4343-8c14-d4b70a5ee7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Team" minOccurs="0"/>
                <xsd:element ref="ns2:Remark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54ac26-85d3-4a93-8ee6-8b53566d36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5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Team" ma:index="17" nillable="true" ma:displayName="Team" ma:format="Dropdown" ma:internalName="Team">
      <xsd:simpleType>
        <xsd:union memberTypes="dms:Text">
          <xsd:simpleType>
            <xsd:restriction base="dms:Choice">
              <xsd:enumeration value="AI Solutions"/>
              <xsd:enumeration value="Test"/>
              <xsd:enumeration value="AIM"/>
              <xsd:enumeration value="Auswahl 4"/>
              <xsd:enumeration value="Auswahl 5"/>
              <xsd:enumeration value="Auswahl 6"/>
            </xsd:restriction>
          </xsd:simpleType>
        </xsd:union>
      </xsd:simpleType>
    </xsd:element>
    <xsd:element name="Remark" ma:index="18" nillable="true" ma:displayName="Remark" ma:format="Dropdown" ma:internalName="Remark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67b47f-9706-4343-8c14-d4b70a5ee703" elementFormDefault="qualified">
    <xsd:import namespace="http://schemas.microsoft.com/office/2006/documentManagement/types"/>
    <xsd:import namespace="http://schemas.microsoft.com/office/infopath/2007/PartnerControls"/>
    <xsd:element name="SharedWithUsers" ma:index="6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054ac26-85d3-4a93-8ee6-8b53566d365e">
      <Terms xmlns="http://schemas.microsoft.com/office/infopath/2007/PartnerControls"/>
    </lcf76f155ced4ddcb4097134ff3c332f>
    <SharedWithUsers xmlns="ee67b47f-9706-4343-8c14-d4b70a5ee703">
      <UserInfo>
        <DisplayName>Montgomery, Shannon</DisplayName>
        <AccountId>70</AccountId>
        <AccountType/>
      </UserInfo>
      <UserInfo>
        <DisplayName>Gubko, Mikhail</DisplayName>
        <AccountId>77</AccountId>
        <AccountType/>
      </UserInfo>
      <UserInfo>
        <DisplayName>Lütticken, Ruth</DisplayName>
        <AccountId>41</AccountId>
        <AccountType/>
      </UserInfo>
    </SharedWithUsers>
    <Remark xmlns="1054ac26-85d3-4a93-8ee6-8b53566d365e" xsi:nil="true"/>
    <Team xmlns="1054ac26-85d3-4a93-8ee6-8b53566d365e">AI for R&amp;D</Team>
  </documentManagement>
</p:properties>
</file>

<file path=customXml/itemProps1.xml><?xml version="1.0" encoding="utf-8"?>
<ds:datastoreItem xmlns:ds="http://schemas.openxmlformats.org/officeDocument/2006/customXml" ds:itemID="{961CC494-1748-40EA-9111-856FABD4E5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054ac26-85d3-4a93-8ee6-8b53566d365e"/>
    <ds:schemaRef ds:uri="ee67b47f-9706-4343-8c14-d4b70a5ee7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D407804-FE11-4112-8799-CF115E6EF55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A1A43CD-0E4E-4B91-9912-B2910D3ED881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ee67b47f-9706-4343-8c14-d4b70a5ee703"/>
    <ds:schemaRef ds:uri="1054ac26-85d3-4a93-8ee6-8b53566d365e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 Standard Template</Template>
  <TotalTime>228</TotalTime>
  <Application>LibreOffice/7.3.7.2$Linux_X86_64 LibreOffice_project/30$Build-2</Application>
  <AppVersion>15.0000</AppVersion>
  <Words>1076</Words>
  <Paragraphs>61</Paragraphs>
  <Company>Capgemini</Company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7-11-09T08:51:59Z</dcterms:created>
  <dc:creator>Raikar, Isabel Beatrice</dc:creator>
  <dc:description/>
  <dc:language>en-US</dc:language>
  <cp:lastModifiedBy/>
  <dcterms:modified xsi:type="dcterms:W3CDTF">2024-10-08T22:42:32Z</dcterms:modified>
  <cp:revision>292</cp:revision>
  <dc:subject/>
  <dc:title>Title of the presentation 2 lines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2AD7CCD9309A40A93237B95FD3CCF3</vt:lpwstr>
  </property>
  <property fmtid="{D5CDD505-2E9C-101B-9397-08002B2CF9AE}" pid="3" name="MediaServiceImageTags">
    <vt:lpwstr/>
  </property>
  <property fmtid="{D5CDD505-2E9C-101B-9397-08002B2CF9AE}" pid="4" name="Notes">
    <vt:i4>2</vt:i4>
  </property>
  <property fmtid="{D5CDD505-2E9C-101B-9397-08002B2CF9AE}" pid="5" name="PresentationFormat">
    <vt:lpwstr>Breitbild</vt:lpwstr>
  </property>
  <property fmtid="{D5CDD505-2E9C-101B-9397-08002B2CF9AE}" pid="6" name="Slides">
    <vt:i4>2</vt:i4>
  </property>
</Properties>
</file>